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7.xml" ContentType="application/vnd.openxmlformats-officedocument.themeOverr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4" r:id="rId4"/>
    <p:sldMasterId id="2147483683" r:id="rId5"/>
  </p:sldMasterIdLst>
  <p:notesMasterIdLst>
    <p:notesMasterId r:id="rId39"/>
  </p:notesMasterIdLst>
  <p:handoutMasterIdLst>
    <p:handoutMasterId r:id="rId40"/>
  </p:handoutMasterIdLst>
  <p:sldIdLst>
    <p:sldId id="280" r:id="rId6"/>
    <p:sldId id="395" r:id="rId7"/>
    <p:sldId id="412" r:id="rId8"/>
    <p:sldId id="413" r:id="rId9"/>
    <p:sldId id="387" r:id="rId10"/>
    <p:sldId id="414" r:id="rId11"/>
    <p:sldId id="396" r:id="rId12"/>
    <p:sldId id="415" r:id="rId13"/>
    <p:sldId id="335" r:id="rId14"/>
    <p:sldId id="397" r:id="rId15"/>
    <p:sldId id="416" r:id="rId16"/>
    <p:sldId id="398" r:id="rId17"/>
    <p:sldId id="369" r:id="rId18"/>
    <p:sldId id="417" r:id="rId19"/>
    <p:sldId id="399" r:id="rId20"/>
    <p:sldId id="418" r:id="rId21"/>
    <p:sldId id="400" r:id="rId22"/>
    <p:sldId id="419" r:id="rId23"/>
    <p:sldId id="401" r:id="rId24"/>
    <p:sldId id="420" r:id="rId25"/>
    <p:sldId id="423" r:id="rId26"/>
    <p:sldId id="422" r:id="rId27"/>
    <p:sldId id="421" r:id="rId28"/>
    <p:sldId id="405" r:id="rId29"/>
    <p:sldId id="408" r:id="rId30"/>
    <p:sldId id="428" r:id="rId31"/>
    <p:sldId id="425" r:id="rId32"/>
    <p:sldId id="402" r:id="rId33"/>
    <p:sldId id="426" r:id="rId34"/>
    <p:sldId id="427" r:id="rId35"/>
    <p:sldId id="394" r:id="rId36"/>
    <p:sldId id="429" r:id="rId37"/>
    <p:sldId id="354" r:id="rId38"/>
  </p:sldIdLst>
  <p:sldSz cx="9144000" cy="6858000" type="screen4x3"/>
  <p:notesSz cx="6797675" cy="9926638"/>
  <p:custDataLst>
    <p:tags r:id="rId4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0000"/>
    <a:srgbClr val="EBCCCD"/>
    <a:srgbClr val="FF7C80"/>
    <a:srgbClr val="CBD5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yst layou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737" autoAdjust="0"/>
    <p:restoredTop sz="92163" autoAdjust="0"/>
  </p:normalViewPr>
  <p:slideViewPr>
    <p:cSldViewPr>
      <p:cViewPr varScale="1">
        <p:scale>
          <a:sx n="103" d="100"/>
          <a:sy n="103" d="100"/>
        </p:scale>
        <p:origin x="756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86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E93682-52F2-4794-8D89-CB8C1A081787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88DCF78F-D755-4EE1-88F2-52A8A8CC895E}">
      <dgm:prSet phldrT="[Text]"/>
      <dgm:spPr/>
      <dgm:t>
        <a:bodyPr/>
        <a:lstStyle/>
        <a:p>
          <a:r>
            <a:rPr lang="da-DK" dirty="0" smtClean="0"/>
            <a:t>Landsimplementeringsansvarlig</a:t>
          </a:r>
          <a:endParaRPr lang="da-DK" dirty="0"/>
        </a:p>
      </dgm:t>
    </dgm:pt>
    <dgm:pt modelId="{ED1ABC42-5845-4768-83E7-82E8620AB267}" type="parTrans" cxnId="{923EE34D-AA57-4562-BC0A-504DC907E33B}">
      <dgm:prSet/>
      <dgm:spPr/>
      <dgm:t>
        <a:bodyPr/>
        <a:lstStyle/>
        <a:p>
          <a:endParaRPr lang="da-DK"/>
        </a:p>
      </dgm:t>
    </dgm:pt>
    <dgm:pt modelId="{EC910C59-0354-454C-886A-7B565AACFAF7}" type="sibTrans" cxnId="{923EE34D-AA57-4562-BC0A-504DC907E33B}">
      <dgm:prSet/>
      <dgm:spPr/>
      <dgm:t>
        <a:bodyPr/>
        <a:lstStyle/>
        <a:p>
          <a:endParaRPr lang="da-DK"/>
        </a:p>
      </dgm:t>
    </dgm:pt>
    <dgm:pt modelId="{84A90CC7-2269-4C92-9632-F4539993EB36}">
      <dgm:prSet phldrT="[Text]"/>
      <dgm:spPr/>
      <dgm:t>
        <a:bodyPr/>
        <a:lstStyle/>
        <a:p>
          <a:r>
            <a:rPr lang="da-DK" dirty="0" smtClean="0"/>
            <a:t>Regional implementeringsansvarlig</a:t>
          </a:r>
          <a:endParaRPr lang="da-DK" dirty="0"/>
        </a:p>
      </dgm:t>
    </dgm:pt>
    <dgm:pt modelId="{0DA55AD8-7FBA-438B-AAE5-F2DE271311D8}" type="parTrans" cxnId="{B4E59A61-23A2-44BD-B342-B4CE89D8FF07}">
      <dgm:prSet/>
      <dgm:spPr/>
      <dgm:t>
        <a:bodyPr/>
        <a:lstStyle/>
        <a:p>
          <a:endParaRPr lang="da-DK"/>
        </a:p>
      </dgm:t>
    </dgm:pt>
    <dgm:pt modelId="{833D1399-1C1B-4ED4-AA0B-3F9E0606D115}" type="sibTrans" cxnId="{B4E59A61-23A2-44BD-B342-B4CE89D8FF07}">
      <dgm:prSet/>
      <dgm:spPr/>
      <dgm:t>
        <a:bodyPr/>
        <a:lstStyle/>
        <a:p>
          <a:endParaRPr lang="da-DK"/>
        </a:p>
      </dgm:t>
    </dgm:pt>
    <dgm:pt modelId="{0B1CDF44-A57F-47AF-A9C3-B700E9C538BC}">
      <dgm:prSet phldrT="[Text]"/>
      <dgm:spPr/>
      <dgm:t>
        <a:bodyPr/>
        <a:lstStyle/>
        <a:p>
          <a:r>
            <a:rPr lang="da-DK" dirty="0" smtClean="0"/>
            <a:t>Kommunal implementerings-ansvarlig</a:t>
          </a:r>
          <a:endParaRPr lang="da-DK" dirty="0"/>
        </a:p>
      </dgm:t>
    </dgm:pt>
    <dgm:pt modelId="{94AAD0F7-C339-40E6-9700-D070270AB1B4}" type="parTrans" cxnId="{071A578D-DF7A-4F34-A683-643F5E41E6CF}">
      <dgm:prSet/>
      <dgm:spPr/>
      <dgm:t>
        <a:bodyPr/>
        <a:lstStyle/>
        <a:p>
          <a:endParaRPr lang="da-DK"/>
        </a:p>
      </dgm:t>
    </dgm:pt>
    <dgm:pt modelId="{322DCD3E-680D-4388-BCC7-98A5EE8BDCA0}" type="sibTrans" cxnId="{071A578D-DF7A-4F34-A683-643F5E41E6CF}">
      <dgm:prSet/>
      <dgm:spPr/>
      <dgm:t>
        <a:bodyPr/>
        <a:lstStyle/>
        <a:p>
          <a:endParaRPr lang="da-DK"/>
        </a:p>
      </dgm:t>
    </dgm:pt>
    <dgm:pt modelId="{DDC784CB-DD07-4654-A042-E9F7758B5489}">
      <dgm:prSet phldrT="[Text]"/>
      <dgm:spPr/>
      <dgm:t>
        <a:bodyPr/>
        <a:lstStyle/>
        <a:p>
          <a:r>
            <a:rPr lang="da-DK" dirty="0" smtClean="0"/>
            <a:t>Kommunal implementerings-ansvarlig</a:t>
          </a:r>
          <a:endParaRPr lang="da-DK" dirty="0"/>
        </a:p>
      </dgm:t>
    </dgm:pt>
    <dgm:pt modelId="{00142645-0E4C-4FC4-9C2A-5EBB7C3B1A93}" type="parTrans" cxnId="{7808447B-D232-4108-A534-5E98937A9C66}">
      <dgm:prSet/>
      <dgm:spPr/>
      <dgm:t>
        <a:bodyPr/>
        <a:lstStyle/>
        <a:p>
          <a:endParaRPr lang="da-DK"/>
        </a:p>
      </dgm:t>
    </dgm:pt>
    <dgm:pt modelId="{EB9B0DFD-6F5E-4EE4-8DD6-38D0F8D798BE}" type="sibTrans" cxnId="{7808447B-D232-4108-A534-5E98937A9C66}">
      <dgm:prSet/>
      <dgm:spPr/>
      <dgm:t>
        <a:bodyPr/>
        <a:lstStyle/>
        <a:p>
          <a:endParaRPr lang="da-DK"/>
        </a:p>
      </dgm:t>
    </dgm:pt>
    <dgm:pt modelId="{31D49F3E-300F-40EA-B88C-C404EF92BB61}">
      <dgm:prSet phldrT="[Text]"/>
      <dgm:spPr/>
      <dgm:t>
        <a:bodyPr/>
        <a:lstStyle/>
        <a:p>
          <a:r>
            <a:rPr lang="da-DK" dirty="0" smtClean="0"/>
            <a:t>Regional implementeringsansvarlig</a:t>
          </a:r>
          <a:endParaRPr lang="da-DK" dirty="0"/>
        </a:p>
      </dgm:t>
    </dgm:pt>
    <dgm:pt modelId="{768F10E6-DD34-4EEF-9843-337812E45413}" type="parTrans" cxnId="{F9C0F8E0-5A4E-4B28-B075-5192054A42F0}">
      <dgm:prSet/>
      <dgm:spPr/>
      <dgm:t>
        <a:bodyPr/>
        <a:lstStyle/>
        <a:p>
          <a:endParaRPr lang="da-DK"/>
        </a:p>
      </dgm:t>
    </dgm:pt>
    <dgm:pt modelId="{D2CA3D0E-F636-400B-A298-78A238AF6C76}" type="sibTrans" cxnId="{F9C0F8E0-5A4E-4B28-B075-5192054A42F0}">
      <dgm:prSet/>
      <dgm:spPr/>
      <dgm:t>
        <a:bodyPr/>
        <a:lstStyle/>
        <a:p>
          <a:endParaRPr lang="da-DK"/>
        </a:p>
      </dgm:t>
    </dgm:pt>
    <dgm:pt modelId="{2395FB62-4756-4F8F-B828-8C3AA2A4BCB5}">
      <dgm:prSet phldrT="[Text]"/>
      <dgm:spPr/>
      <dgm:t>
        <a:bodyPr/>
        <a:lstStyle/>
        <a:p>
          <a:r>
            <a:rPr lang="da-DK" dirty="0" smtClean="0"/>
            <a:t>Kommunal implementerings-ansvarlig</a:t>
          </a:r>
          <a:endParaRPr lang="da-DK" dirty="0"/>
        </a:p>
      </dgm:t>
    </dgm:pt>
    <dgm:pt modelId="{E3F9A7FC-7314-4134-85EC-DB5A94D4A260}" type="parTrans" cxnId="{F18DB517-7315-4988-8EAD-FA3BC9C1E740}">
      <dgm:prSet/>
      <dgm:spPr/>
      <dgm:t>
        <a:bodyPr/>
        <a:lstStyle/>
        <a:p>
          <a:endParaRPr lang="da-DK"/>
        </a:p>
      </dgm:t>
    </dgm:pt>
    <dgm:pt modelId="{470F6FF1-19F6-460C-8362-D128AAB6EF6C}" type="sibTrans" cxnId="{F18DB517-7315-4988-8EAD-FA3BC9C1E740}">
      <dgm:prSet/>
      <dgm:spPr/>
      <dgm:t>
        <a:bodyPr/>
        <a:lstStyle/>
        <a:p>
          <a:endParaRPr lang="da-DK"/>
        </a:p>
      </dgm:t>
    </dgm:pt>
    <dgm:pt modelId="{7655D84F-A3A6-415C-A97A-D3C54F4EEC4E}">
      <dgm:prSet phldrT="[Text]"/>
      <dgm:spPr/>
      <dgm:t>
        <a:bodyPr/>
        <a:lstStyle/>
        <a:p>
          <a:pPr algn="l"/>
          <a:r>
            <a:rPr lang="da-DK" dirty="0" smtClean="0"/>
            <a:t>Ansvarlig for koordinering og kommunikation mellem projektet og den kommunale implementeringsorganisation</a:t>
          </a:r>
        </a:p>
      </dgm:t>
    </dgm:pt>
    <dgm:pt modelId="{F75D3893-ACB3-4DD9-BDCA-01BC27C18DB1}" type="parTrans" cxnId="{DAAE76DC-4859-4397-9A71-4B2B6FF039C2}">
      <dgm:prSet/>
      <dgm:spPr/>
      <dgm:t>
        <a:bodyPr/>
        <a:lstStyle/>
        <a:p>
          <a:endParaRPr lang="da-DK"/>
        </a:p>
      </dgm:t>
    </dgm:pt>
    <dgm:pt modelId="{AC2F5753-3A58-4C2C-B30E-BB588B832AF2}" type="sibTrans" cxnId="{DAAE76DC-4859-4397-9A71-4B2B6FF039C2}">
      <dgm:prSet/>
      <dgm:spPr/>
      <dgm:t>
        <a:bodyPr/>
        <a:lstStyle/>
        <a:p>
          <a:endParaRPr lang="da-DK"/>
        </a:p>
      </dgm:t>
    </dgm:pt>
    <dgm:pt modelId="{449EFB38-D1DD-460F-BC9A-9064402DAB4C}">
      <dgm:prSet phldrT="[Text]"/>
      <dgm:spPr/>
      <dgm:t>
        <a:bodyPr/>
        <a:lstStyle/>
        <a:p>
          <a:pPr algn="l"/>
          <a:r>
            <a:rPr lang="da-DK" dirty="0" smtClean="0"/>
            <a:t>Ansvarlig for koordinering og kommunikation mellem kommuner og den overordnede implementeringsansvarlige</a:t>
          </a:r>
          <a:endParaRPr lang="da-DK" dirty="0"/>
        </a:p>
      </dgm:t>
    </dgm:pt>
    <dgm:pt modelId="{8B3D8D3D-0B05-4537-9031-0F2D6F0210FD}" type="parTrans" cxnId="{870D3889-96FC-46AC-B136-40CA3E569337}">
      <dgm:prSet/>
      <dgm:spPr/>
      <dgm:t>
        <a:bodyPr/>
        <a:lstStyle/>
        <a:p>
          <a:endParaRPr lang="da-DK"/>
        </a:p>
      </dgm:t>
    </dgm:pt>
    <dgm:pt modelId="{9CE05998-03A8-4E3B-AA7D-0FC7AB7028CD}" type="sibTrans" cxnId="{870D3889-96FC-46AC-B136-40CA3E569337}">
      <dgm:prSet/>
      <dgm:spPr/>
      <dgm:t>
        <a:bodyPr/>
        <a:lstStyle/>
        <a:p>
          <a:endParaRPr lang="da-DK"/>
        </a:p>
      </dgm:t>
    </dgm:pt>
    <dgm:pt modelId="{CF8CF17B-5D63-4826-A5FE-ECE84DD01240}">
      <dgm:prSet phldrT="[Text]"/>
      <dgm:spPr/>
      <dgm:t>
        <a:bodyPr/>
        <a:lstStyle/>
        <a:p>
          <a:pPr algn="l"/>
          <a:r>
            <a:rPr lang="da-DK" dirty="0" smtClean="0"/>
            <a:t>Ansvarlig for selve implementeringen i kommunen, herunder kommunikation, koordinering, planlægning af uddannelse m.m.</a:t>
          </a:r>
          <a:endParaRPr lang="da-DK" dirty="0"/>
        </a:p>
      </dgm:t>
    </dgm:pt>
    <dgm:pt modelId="{C3747420-ED5D-4E2D-AFE3-ADBAD2583798}" type="parTrans" cxnId="{26774649-0793-460A-8AFE-8C08D092F182}">
      <dgm:prSet/>
      <dgm:spPr/>
      <dgm:t>
        <a:bodyPr/>
        <a:lstStyle/>
        <a:p>
          <a:endParaRPr lang="da-DK"/>
        </a:p>
      </dgm:t>
    </dgm:pt>
    <dgm:pt modelId="{83F6B0F3-D9B8-4DCD-A07A-6D4135F4FDD5}" type="sibTrans" cxnId="{26774649-0793-460A-8AFE-8C08D092F182}">
      <dgm:prSet/>
      <dgm:spPr/>
      <dgm:t>
        <a:bodyPr/>
        <a:lstStyle/>
        <a:p>
          <a:endParaRPr lang="da-DK"/>
        </a:p>
      </dgm:t>
    </dgm:pt>
    <dgm:pt modelId="{B87E239D-8D0B-4C98-97C1-616FA09BC6E2}">
      <dgm:prSet phldrT="[Text]"/>
      <dgm:spPr/>
      <dgm:t>
        <a:bodyPr/>
        <a:lstStyle/>
        <a:p>
          <a:r>
            <a:rPr lang="da-DK" dirty="0" smtClean="0"/>
            <a:t>Superbruger</a:t>
          </a:r>
          <a:endParaRPr lang="da-DK" dirty="0"/>
        </a:p>
      </dgm:t>
    </dgm:pt>
    <dgm:pt modelId="{85AA358C-80CA-4055-9549-999D529CB9A9}" type="parTrans" cxnId="{E889BCDF-9860-4CAA-8270-689575AC0E87}">
      <dgm:prSet/>
      <dgm:spPr/>
      <dgm:t>
        <a:bodyPr/>
        <a:lstStyle/>
        <a:p>
          <a:endParaRPr lang="da-DK"/>
        </a:p>
      </dgm:t>
    </dgm:pt>
    <dgm:pt modelId="{7F910D18-C8F7-41FE-B5BB-FBB4FFD68FFC}" type="sibTrans" cxnId="{E889BCDF-9860-4CAA-8270-689575AC0E87}">
      <dgm:prSet/>
      <dgm:spPr/>
      <dgm:t>
        <a:bodyPr/>
        <a:lstStyle/>
        <a:p>
          <a:endParaRPr lang="da-DK"/>
        </a:p>
      </dgm:t>
    </dgm:pt>
    <dgm:pt modelId="{A0604BAF-114D-4714-B0EE-66D2F14C8C57}">
      <dgm:prSet phldrT="[Text]"/>
      <dgm:spPr/>
      <dgm:t>
        <a:bodyPr/>
        <a:lstStyle/>
        <a:p>
          <a:r>
            <a:rPr lang="da-DK" dirty="0" smtClean="0"/>
            <a:t>Superbruger</a:t>
          </a:r>
          <a:endParaRPr lang="da-DK" dirty="0"/>
        </a:p>
      </dgm:t>
    </dgm:pt>
    <dgm:pt modelId="{361C388F-3B3F-4BEB-84E6-79FA81D1E9D4}" type="parTrans" cxnId="{38F500F7-0177-424E-BB3B-F4B52F2ADD7A}">
      <dgm:prSet/>
      <dgm:spPr/>
      <dgm:t>
        <a:bodyPr/>
        <a:lstStyle/>
        <a:p>
          <a:endParaRPr lang="da-DK"/>
        </a:p>
      </dgm:t>
    </dgm:pt>
    <dgm:pt modelId="{1891F164-4BB1-4138-82BC-3032289B3336}" type="sibTrans" cxnId="{38F500F7-0177-424E-BB3B-F4B52F2ADD7A}">
      <dgm:prSet/>
      <dgm:spPr/>
      <dgm:t>
        <a:bodyPr/>
        <a:lstStyle/>
        <a:p>
          <a:endParaRPr lang="da-DK"/>
        </a:p>
      </dgm:t>
    </dgm:pt>
    <dgm:pt modelId="{622A3DAE-C920-4E1C-89E5-0DF9AD27C897}">
      <dgm:prSet phldrT="[Text]"/>
      <dgm:spPr/>
      <dgm:t>
        <a:bodyPr/>
        <a:lstStyle/>
        <a:p>
          <a:r>
            <a:rPr lang="da-DK" dirty="0" smtClean="0"/>
            <a:t>Bruger</a:t>
          </a:r>
          <a:endParaRPr lang="da-DK" dirty="0"/>
        </a:p>
      </dgm:t>
    </dgm:pt>
    <dgm:pt modelId="{40FC3921-78DC-4BA8-8586-2CC511A07B6A}" type="parTrans" cxnId="{2547E01D-C22B-416F-810B-8880CFBC61A3}">
      <dgm:prSet/>
      <dgm:spPr/>
      <dgm:t>
        <a:bodyPr/>
        <a:lstStyle/>
        <a:p>
          <a:endParaRPr lang="da-DK"/>
        </a:p>
      </dgm:t>
    </dgm:pt>
    <dgm:pt modelId="{D5AE2D3A-EBD2-4757-8AC3-513025D01E1C}" type="sibTrans" cxnId="{2547E01D-C22B-416F-810B-8880CFBC61A3}">
      <dgm:prSet/>
      <dgm:spPr/>
      <dgm:t>
        <a:bodyPr/>
        <a:lstStyle/>
        <a:p>
          <a:endParaRPr lang="da-DK"/>
        </a:p>
      </dgm:t>
    </dgm:pt>
    <dgm:pt modelId="{C1FBE1CD-8EA7-4DDF-BAE5-774CF0EBE047}">
      <dgm:prSet phldrT="[Text]"/>
      <dgm:spPr/>
      <dgm:t>
        <a:bodyPr/>
        <a:lstStyle/>
        <a:p>
          <a:r>
            <a:rPr lang="da-DK" dirty="0" smtClean="0"/>
            <a:t>Bruger</a:t>
          </a:r>
          <a:endParaRPr lang="da-DK" dirty="0"/>
        </a:p>
      </dgm:t>
    </dgm:pt>
    <dgm:pt modelId="{E5ED79DC-B373-420E-B697-463AF6D66E46}" type="parTrans" cxnId="{ABB449FC-F032-448A-B4CE-FD70CB2D30CA}">
      <dgm:prSet/>
      <dgm:spPr/>
      <dgm:t>
        <a:bodyPr/>
        <a:lstStyle/>
        <a:p>
          <a:endParaRPr lang="da-DK"/>
        </a:p>
      </dgm:t>
    </dgm:pt>
    <dgm:pt modelId="{2BD3B13C-06BD-4DBA-968C-BE4DC9D358E5}" type="sibTrans" cxnId="{ABB449FC-F032-448A-B4CE-FD70CB2D30CA}">
      <dgm:prSet/>
      <dgm:spPr/>
      <dgm:t>
        <a:bodyPr/>
        <a:lstStyle/>
        <a:p>
          <a:endParaRPr lang="da-DK"/>
        </a:p>
      </dgm:t>
    </dgm:pt>
    <dgm:pt modelId="{D9226D6C-DE0B-4057-B970-28EE884CFDD6}">
      <dgm:prSet phldrT="[Text]"/>
      <dgm:spPr/>
      <dgm:t>
        <a:bodyPr/>
        <a:lstStyle/>
        <a:p>
          <a:r>
            <a:rPr lang="da-DK" dirty="0" smtClean="0"/>
            <a:t>Bruger</a:t>
          </a:r>
          <a:endParaRPr lang="da-DK" dirty="0"/>
        </a:p>
      </dgm:t>
    </dgm:pt>
    <dgm:pt modelId="{92C12E4A-C2F7-4601-9465-5D458D0D4164}" type="parTrans" cxnId="{22F014E4-6FEE-4960-BBFF-A77E25822314}">
      <dgm:prSet/>
      <dgm:spPr/>
      <dgm:t>
        <a:bodyPr/>
        <a:lstStyle/>
        <a:p>
          <a:endParaRPr lang="da-DK"/>
        </a:p>
      </dgm:t>
    </dgm:pt>
    <dgm:pt modelId="{6D8C86E1-1D31-449E-9659-8A43099D440C}" type="sibTrans" cxnId="{22F014E4-6FEE-4960-BBFF-A77E25822314}">
      <dgm:prSet/>
      <dgm:spPr/>
      <dgm:t>
        <a:bodyPr/>
        <a:lstStyle/>
        <a:p>
          <a:endParaRPr lang="da-DK"/>
        </a:p>
      </dgm:t>
    </dgm:pt>
    <dgm:pt modelId="{DA0CF4A7-93B4-456B-9EB0-0335A4E39CFB}">
      <dgm:prSet phldrT="[Text]"/>
      <dgm:spPr/>
      <dgm:t>
        <a:bodyPr/>
        <a:lstStyle/>
        <a:p>
          <a:pPr algn="l"/>
          <a:r>
            <a:rPr lang="da-DK" dirty="0" smtClean="0"/>
            <a:t>Ansvarlig for deltagelse i specialuddannelse, oprettelse af brugere, deltagelse i test samt yde support til almindelige brugere</a:t>
          </a:r>
          <a:endParaRPr lang="da-DK" dirty="0"/>
        </a:p>
      </dgm:t>
    </dgm:pt>
    <dgm:pt modelId="{7B2357D8-06C3-4B13-B38F-3FA0ED7D83A9}" type="parTrans" cxnId="{44919737-ECF8-4520-BE77-9D55FA5B10C6}">
      <dgm:prSet/>
      <dgm:spPr/>
      <dgm:t>
        <a:bodyPr/>
        <a:lstStyle/>
        <a:p>
          <a:endParaRPr lang="da-DK"/>
        </a:p>
      </dgm:t>
    </dgm:pt>
    <dgm:pt modelId="{941D3472-05F8-49C9-91B0-0F3288109422}" type="sibTrans" cxnId="{44919737-ECF8-4520-BE77-9D55FA5B10C6}">
      <dgm:prSet/>
      <dgm:spPr/>
      <dgm:t>
        <a:bodyPr/>
        <a:lstStyle/>
        <a:p>
          <a:endParaRPr lang="da-DK"/>
        </a:p>
      </dgm:t>
    </dgm:pt>
    <dgm:pt modelId="{37DC84CC-A13C-40EE-8918-F7096A44EDF2}">
      <dgm:prSet phldrT="[Text]"/>
      <dgm:spPr/>
      <dgm:t>
        <a:bodyPr/>
        <a:lstStyle/>
        <a:p>
          <a:pPr algn="l"/>
          <a:r>
            <a:rPr lang="da-DK" dirty="0" smtClean="0"/>
            <a:t>Ansvarlig for at deltage i uddannelse og læse vejledninger</a:t>
          </a:r>
          <a:endParaRPr lang="da-DK" dirty="0"/>
        </a:p>
      </dgm:t>
    </dgm:pt>
    <dgm:pt modelId="{81F0B877-2582-47DD-8821-E692B4A51E20}" type="sibTrans" cxnId="{48E8D09E-BE5F-472B-9DB0-436AABEB146C}">
      <dgm:prSet/>
      <dgm:spPr/>
      <dgm:t>
        <a:bodyPr/>
        <a:lstStyle/>
        <a:p>
          <a:endParaRPr lang="da-DK"/>
        </a:p>
      </dgm:t>
    </dgm:pt>
    <dgm:pt modelId="{894ED612-06F2-4C99-A9CA-735EA0CFB1EF}" type="parTrans" cxnId="{48E8D09E-BE5F-472B-9DB0-436AABEB146C}">
      <dgm:prSet/>
      <dgm:spPr/>
      <dgm:t>
        <a:bodyPr/>
        <a:lstStyle/>
        <a:p>
          <a:endParaRPr lang="da-DK"/>
        </a:p>
      </dgm:t>
    </dgm:pt>
    <dgm:pt modelId="{D2DDF88C-250C-4317-8A99-5F6A64287FF7}">
      <dgm:prSet phldrT="[Text]"/>
      <dgm:spPr/>
      <dgm:t>
        <a:bodyPr/>
        <a:lstStyle/>
        <a:p>
          <a:r>
            <a:rPr lang="da-DK" dirty="0" smtClean="0"/>
            <a:t>Kommunal implementerings-ansvarlig</a:t>
          </a:r>
          <a:endParaRPr lang="da-DK" dirty="0"/>
        </a:p>
      </dgm:t>
    </dgm:pt>
    <dgm:pt modelId="{64DB677B-3C91-436A-B0BE-ED0C87B49E40}" type="parTrans" cxnId="{D6A3731E-19BF-4BC9-AA62-4F173B05AEF1}">
      <dgm:prSet/>
      <dgm:spPr/>
      <dgm:t>
        <a:bodyPr/>
        <a:lstStyle/>
        <a:p>
          <a:endParaRPr lang="da-DK"/>
        </a:p>
      </dgm:t>
    </dgm:pt>
    <dgm:pt modelId="{CA172542-32C6-49F0-B077-C976BCD401AE}" type="sibTrans" cxnId="{D6A3731E-19BF-4BC9-AA62-4F173B05AEF1}">
      <dgm:prSet/>
      <dgm:spPr/>
      <dgm:t>
        <a:bodyPr/>
        <a:lstStyle/>
        <a:p>
          <a:endParaRPr lang="da-DK"/>
        </a:p>
      </dgm:t>
    </dgm:pt>
    <dgm:pt modelId="{21CE0F1A-C6B6-42AB-B211-83BAC95E06DB}" type="pres">
      <dgm:prSet presAssocID="{CAE93682-52F2-4794-8D89-CB8C1A081787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0FC6AFBD-8731-4CEF-9B89-FF974C8AA301}" type="pres">
      <dgm:prSet presAssocID="{CAE93682-52F2-4794-8D89-CB8C1A081787}" presName="hierFlow" presStyleCnt="0"/>
      <dgm:spPr/>
    </dgm:pt>
    <dgm:pt modelId="{577F753C-C2A0-41F2-AE23-562855BBB23C}" type="pres">
      <dgm:prSet presAssocID="{CAE93682-52F2-4794-8D89-CB8C1A081787}" presName="firstBuf" presStyleCnt="0"/>
      <dgm:spPr/>
    </dgm:pt>
    <dgm:pt modelId="{B266A1FE-A7AF-4F7D-BBC7-77E62679012F}" type="pres">
      <dgm:prSet presAssocID="{CAE93682-52F2-4794-8D89-CB8C1A081787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BDB95179-9C39-4A95-8D0E-35587417002B}" type="pres">
      <dgm:prSet presAssocID="{88DCF78F-D755-4EE1-88F2-52A8A8CC895E}" presName="Name14" presStyleCnt="0"/>
      <dgm:spPr/>
    </dgm:pt>
    <dgm:pt modelId="{24A492CD-0C86-4341-9A6E-30DEEF6E13D9}" type="pres">
      <dgm:prSet presAssocID="{88DCF78F-D755-4EE1-88F2-52A8A8CC895E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a-DK"/>
        </a:p>
      </dgm:t>
    </dgm:pt>
    <dgm:pt modelId="{ECB585B2-52D3-4EAA-8E3E-EE91DFFA4CC0}" type="pres">
      <dgm:prSet presAssocID="{88DCF78F-D755-4EE1-88F2-52A8A8CC895E}" presName="hierChild2" presStyleCnt="0"/>
      <dgm:spPr/>
    </dgm:pt>
    <dgm:pt modelId="{00EC8492-BC28-474F-847D-8A4AD9EB7FD9}" type="pres">
      <dgm:prSet presAssocID="{0DA55AD8-7FBA-438B-AAE5-F2DE271311D8}" presName="Name19" presStyleLbl="parChTrans1D2" presStyleIdx="0" presStyleCnt="2"/>
      <dgm:spPr/>
      <dgm:t>
        <a:bodyPr/>
        <a:lstStyle/>
        <a:p>
          <a:endParaRPr lang="da-DK"/>
        </a:p>
      </dgm:t>
    </dgm:pt>
    <dgm:pt modelId="{19822587-F7A1-4AD3-98B9-4FEF8B2206E1}" type="pres">
      <dgm:prSet presAssocID="{84A90CC7-2269-4C92-9632-F4539993EB36}" presName="Name21" presStyleCnt="0"/>
      <dgm:spPr/>
    </dgm:pt>
    <dgm:pt modelId="{45EF13DB-379F-46DE-A12A-6A6EAC0137C2}" type="pres">
      <dgm:prSet presAssocID="{84A90CC7-2269-4C92-9632-F4539993EB36}" presName="level2Shape" presStyleLbl="node2" presStyleIdx="0" presStyleCnt="2"/>
      <dgm:spPr/>
      <dgm:t>
        <a:bodyPr/>
        <a:lstStyle/>
        <a:p>
          <a:endParaRPr lang="da-DK"/>
        </a:p>
      </dgm:t>
    </dgm:pt>
    <dgm:pt modelId="{A8A1BB15-A047-4356-A611-00BDF633F081}" type="pres">
      <dgm:prSet presAssocID="{84A90CC7-2269-4C92-9632-F4539993EB36}" presName="hierChild3" presStyleCnt="0"/>
      <dgm:spPr/>
    </dgm:pt>
    <dgm:pt modelId="{D54D8F06-C8B8-4799-814B-4BC021CEEC49}" type="pres">
      <dgm:prSet presAssocID="{94AAD0F7-C339-40E6-9700-D070270AB1B4}" presName="Name19" presStyleLbl="parChTrans1D3" presStyleIdx="0" presStyleCnt="4"/>
      <dgm:spPr/>
      <dgm:t>
        <a:bodyPr/>
        <a:lstStyle/>
        <a:p>
          <a:endParaRPr lang="da-DK"/>
        </a:p>
      </dgm:t>
    </dgm:pt>
    <dgm:pt modelId="{704CCF25-0459-405F-B1C2-BB71F3A5B392}" type="pres">
      <dgm:prSet presAssocID="{0B1CDF44-A57F-47AF-A9C3-B700E9C538BC}" presName="Name21" presStyleCnt="0"/>
      <dgm:spPr/>
    </dgm:pt>
    <dgm:pt modelId="{05669FBD-F2FE-439A-8885-7C85B7F89F28}" type="pres">
      <dgm:prSet presAssocID="{0B1CDF44-A57F-47AF-A9C3-B700E9C538BC}" presName="level2Shape" presStyleLbl="node3" presStyleIdx="0" presStyleCnt="4"/>
      <dgm:spPr/>
      <dgm:t>
        <a:bodyPr/>
        <a:lstStyle/>
        <a:p>
          <a:endParaRPr lang="da-DK"/>
        </a:p>
      </dgm:t>
    </dgm:pt>
    <dgm:pt modelId="{60BE1F97-5DBF-493A-B371-7C70AFD12315}" type="pres">
      <dgm:prSet presAssocID="{0B1CDF44-A57F-47AF-A9C3-B700E9C538BC}" presName="hierChild3" presStyleCnt="0"/>
      <dgm:spPr/>
    </dgm:pt>
    <dgm:pt modelId="{7DF82C14-AD98-40B6-A6B0-241FA684C628}" type="pres">
      <dgm:prSet presAssocID="{00142645-0E4C-4FC4-9C2A-5EBB7C3B1A93}" presName="Name19" presStyleLbl="parChTrans1D3" presStyleIdx="1" presStyleCnt="4"/>
      <dgm:spPr/>
      <dgm:t>
        <a:bodyPr/>
        <a:lstStyle/>
        <a:p>
          <a:endParaRPr lang="da-DK"/>
        </a:p>
      </dgm:t>
    </dgm:pt>
    <dgm:pt modelId="{93D4B77C-3D45-4EB1-80BB-E66B5BD08BF8}" type="pres">
      <dgm:prSet presAssocID="{DDC784CB-DD07-4654-A042-E9F7758B5489}" presName="Name21" presStyleCnt="0"/>
      <dgm:spPr/>
    </dgm:pt>
    <dgm:pt modelId="{336FF67F-22C8-4A7D-B142-400E8909288E}" type="pres">
      <dgm:prSet presAssocID="{DDC784CB-DD07-4654-A042-E9F7758B5489}" presName="level2Shape" presStyleLbl="node3" presStyleIdx="1" presStyleCnt="4"/>
      <dgm:spPr/>
      <dgm:t>
        <a:bodyPr/>
        <a:lstStyle/>
        <a:p>
          <a:endParaRPr lang="da-DK"/>
        </a:p>
      </dgm:t>
    </dgm:pt>
    <dgm:pt modelId="{1B767BB1-7BEB-43C2-949D-12EC767AA8C2}" type="pres">
      <dgm:prSet presAssocID="{DDC784CB-DD07-4654-A042-E9F7758B5489}" presName="hierChild3" presStyleCnt="0"/>
      <dgm:spPr/>
    </dgm:pt>
    <dgm:pt modelId="{7572AAE9-4C42-4058-B76B-45901AD24627}" type="pres">
      <dgm:prSet presAssocID="{85AA358C-80CA-4055-9549-999D529CB9A9}" presName="Name19" presStyleLbl="parChTrans1D4" presStyleIdx="0" presStyleCnt="5"/>
      <dgm:spPr/>
      <dgm:t>
        <a:bodyPr/>
        <a:lstStyle/>
        <a:p>
          <a:endParaRPr lang="da-DK"/>
        </a:p>
      </dgm:t>
    </dgm:pt>
    <dgm:pt modelId="{8EBDC555-0BBB-4202-94FF-0F152D39BC68}" type="pres">
      <dgm:prSet presAssocID="{B87E239D-8D0B-4C98-97C1-616FA09BC6E2}" presName="Name21" presStyleCnt="0"/>
      <dgm:spPr/>
    </dgm:pt>
    <dgm:pt modelId="{519572B4-B27A-4F07-BCA1-025FD1BACB68}" type="pres">
      <dgm:prSet presAssocID="{B87E239D-8D0B-4C98-97C1-616FA09BC6E2}" presName="level2Shape" presStyleLbl="node4" presStyleIdx="0" presStyleCnt="5"/>
      <dgm:spPr/>
      <dgm:t>
        <a:bodyPr/>
        <a:lstStyle/>
        <a:p>
          <a:endParaRPr lang="da-DK"/>
        </a:p>
      </dgm:t>
    </dgm:pt>
    <dgm:pt modelId="{C0368903-1CC3-4FEB-93E1-E05225011A12}" type="pres">
      <dgm:prSet presAssocID="{B87E239D-8D0B-4C98-97C1-616FA09BC6E2}" presName="hierChild3" presStyleCnt="0"/>
      <dgm:spPr/>
    </dgm:pt>
    <dgm:pt modelId="{A192A56E-EFB0-4CEE-B52A-987530172ED9}" type="pres">
      <dgm:prSet presAssocID="{40FC3921-78DC-4BA8-8586-2CC511A07B6A}" presName="Name19" presStyleLbl="parChTrans1D4" presStyleIdx="1" presStyleCnt="5"/>
      <dgm:spPr/>
      <dgm:t>
        <a:bodyPr/>
        <a:lstStyle/>
        <a:p>
          <a:endParaRPr lang="da-DK"/>
        </a:p>
      </dgm:t>
    </dgm:pt>
    <dgm:pt modelId="{6E85ED16-F3D0-4FBF-BFE4-0790578675AE}" type="pres">
      <dgm:prSet presAssocID="{622A3DAE-C920-4E1C-89E5-0DF9AD27C897}" presName="Name21" presStyleCnt="0"/>
      <dgm:spPr/>
    </dgm:pt>
    <dgm:pt modelId="{662D775B-6927-41C4-9904-4FE73CABF365}" type="pres">
      <dgm:prSet presAssocID="{622A3DAE-C920-4E1C-89E5-0DF9AD27C897}" presName="level2Shape" presStyleLbl="node4" presStyleIdx="1" presStyleCnt="5"/>
      <dgm:spPr/>
      <dgm:t>
        <a:bodyPr/>
        <a:lstStyle/>
        <a:p>
          <a:endParaRPr lang="da-DK"/>
        </a:p>
      </dgm:t>
    </dgm:pt>
    <dgm:pt modelId="{B1E4B767-5B88-4B50-BD8F-D60CF0752832}" type="pres">
      <dgm:prSet presAssocID="{622A3DAE-C920-4E1C-89E5-0DF9AD27C897}" presName="hierChild3" presStyleCnt="0"/>
      <dgm:spPr/>
    </dgm:pt>
    <dgm:pt modelId="{CED5566E-AB36-47F0-A25F-8DC7EEC44572}" type="pres">
      <dgm:prSet presAssocID="{361C388F-3B3F-4BEB-84E6-79FA81D1E9D4}" presName="Name19" presStyleLbl="parChTrans1D4" presStyleIdx="2" presStyleCnt="5"/>
      <dgm:spPr/>
      <dgm:t>
        <a:bodyPr/>
        <a:lstStyle/>
        <a:p>
          <a:endParaRPr lang="da-DK"/>
        </a:p>
      </dgm:t>
    </dgm:pt>
    <dgm:pt modelId="{A03D1D8B-548F-441B-97B4-82CE17632B0C}" type="pres">
      <dgm:prSet presAssocID="{A0604BAF-114D-4714-B0EE-66D2F14C8C57}" presName="Name21" presStyleCnt="0"/>
      <dgm:spPr/>
    </dgm:pt>
    <dgm:pt modelId="{41B08630-9E74-44FA-8D39-053174FE9F3E}" type="pres">
      <dgm:prSet presAssocID="{A0604BAF-114D-4714-B0EE-66D2F14C8C57}" presName="level2Shape" presStyleLbl="node4" presStyleIdx="2" presStyleCnt="5"/>
      <dgm:spPr/>
      <dgm:t>
        <a:bodyPr/>
        <a:lstStyle/>
        <a:p>
          <a:endParaRPr lang="da-DK"/>
        </a:p>
      </dgm:t>
    </dgm:pt>
    <dgm:pt modelId="{4280C2F9-A30D-4EBF-811B-E9F2D1F326A3}" type="pres">
      <dgm:prSet presAssocID="{A0604BAF-114D-4714-B0EE-66D2F14C8C57}" presName="hierChild3" presStyleCnt="0"/>
      <dgm:spPr/>
    </dgm:pt>
    <dgm:pt modelId="{0DA3D105-D245-4B8D-A6AD-8BF94491636A}" type="pres">
      <dgm:prSet presAssocID="{E5ED79DC-B373-420E-B697-463AF6D66E46}" presName="Name19" presStyleLbl="parChTrans1D4" presStyleIdx="3" presStyleCnt="5"/>
      <dgm:spPr/>
      <dgm:t>
        <a:bodyPr/>
        <a:lstStyle/>
        <a:p>
          <a:endParaRPr lang="da-DK"/>
        </a:p>
      </dgm:t>
    </dgm:pt>
    <dgm:pt modelId="{436A91A0-7AAF-42DF-9139-683F0F3E4BBC}" type="pres">
      <dgm:prSet presAssocID="{C1FBE1CD-8EA7-4DDF-BAE5-774CF0EBE047}" presName="Name21" presStyleCnt="0"/>
      <dgm:spPr/>
    </dgm:pt>
    <dgm:pt modelId="{503B3D2B-96C9-4D77-94B6-AF8081CB3852}" type="pres">
      <dgm:prSet presAssocID="{C1FBE1CD-8EA7-4DDF-BAE5-774CF0EBE047}" presName="level2Shape" presStyleLbl="node4" presStyleIdx="3" presStyleCnt="5"/>
      <dgm:spPr/>
      <dgm:t>
        <a:bodyPr/>
        <a:lstStyle/>
        <a:p>
          <a:endParaRPr lang="da-DK"/>
        </a:p>
      </dgm:t>
    </dgm:pt>
    <dgm:pt modelId="{B1B5A0C2-DCB2-4B61-8494-A68BBA8953BD}" type="pres">
      <dgm:prSet presAssocID="{C1FBE1CD-8EA7-4DDF-BAE5-774CF0EBE047}" presName="hierChild3" presStyleCnt="0"/>
      <dgm:spPr/>
    </dgm:pt>
    <dgm:pt modelId="{2D2F9388-9F61-4DEE-9898-4570FCA0B9FD}" type="pres">
      <dgm:prSet presAssocID="{92C12E4A-C2F7-4601-9465-5D458D0D4164}" presName="Name19" presStyleLbl="parChTrans1D4" presStyleIdx="4" presStyleCnt="5"/>
      <dgm:spPr/>
      <dgm:t>
        <a:bodyPr/>
        <a:lstStyle/>
        <a:p>
          <a:endParaRPr lang="da-DK"/>
        </a:p>
      </dgm:t>
    </dgm:pt>
    <dgm:pt modelId="{817CED68-84E1-45DD-B163-C1E831C7EC6F}" type="pres">
      <dgm:prSet presAssocID="{D9226D6C-DE0B-4057-B970-28EE884CFDD6}" presName="Name21" presStyleCnt="0"/>
      <dgm:spPr/>
    </dgm:pt>
    <dgm:pt modelId="{7B764904-EF69-49F5-AC3C-18F56FB3024C}" type="pres">
      <dgm:prSet presAssocID="{D9226D6C-DE0B-4057-B970-28EE884CFDD6}" presName="level2Shape" presStyleLbl="node4" presStyleIdx="4" presStyleCnt="5"/>
      <dgm:spPr/>
      <dgm:t>
        <a:bodyPr/>
        <a:lstStyle/>
        <a:p>
          <a:endParaRPr lang="da-DK"/>
        </a:p>
      </dgm:t>
    </dgm:pt>
    <dgm:pt modelId="{430B83B0-5A7A-4F90-99F9-4CF6312E26A1}" type="pres">
      <dgm:prSet presAssocID="{D9226D6C-DE0B-4057-B970-28EE884CFDD6}" presName="hierChild3" presStyleCnt="0"/>
      <dgm:spPr/>
    </dgm:pt>
    <dgm:pt modelId="{F727B089-9D8C-402D-BCF8-AE582A23A258}" type="pres">
      <dgm:prSet presAssocID="{768F10E6-DD34-4EEF-9843-337812E45413}" presName="Name19" presStyleLbl="parChTrans1D2" presStyleIdx="1" presStyleCnt="2"/>
      <dgm:spPr/>
      <dgm:t>
        <a:bodyPr/>
        <a:lstStyle/>
        <a:p>
          <a:endParaRPr lang="da-DK"/>
        </a:p>
      </dgm:t>
    </dgm:pt>
    <dgm:pt modelId="{DEBB0863-63B6-4B35-AC01-E654DBE4CA7D}" type="pres">
      <dgm:prSet presAssocID="{31D49F3E-300F-40EA-B88C-C404EF92BB61}" presName="Name21" presStyleCnt="0"/>
      <dgm:spPr/>
    </dgm:pt>
    <dgm:pt modelId="{6A298CE0-1EA2-4800-9D98-B259408B384A}" type="pres">
      <dgm:prSet presAssocID="{31D49F3E-300F-40EA-B88C-C404EF92BB61}" presName="level2Shape" presStyleLbl="node2" presStyleIdx="1" presStyleCnt="2"/>
      <dgm:spPr/>
      <dgm:t>
        <a:bodyPr/>
        <a:lstStyle/>
        <a:p>
          <a:endParaRPr lang="da-DK"/>
        </a:p>
      </dgm:t>
    </dgm:pt>
    <dgm:pt modelId="{21BD6F26-520F-4DAE-BADB-B9B61D9E4B74}" type="pres">
      <dgm:prSet presAssocID="{31D49F3E-300F-40EA-B88C-C404EF92BB61}" presName="hierChild3" presStyleCnt="0"/>
      <dgm:spPr/>
    </dgm:pt>
    <dgm:pt modelId="{0F29ADB5-A3BB-41C0-957C-0FB3FE02B8D2}" type="pres">
      <dgm:prSet presAssocID="{E3F9A7FC-7314-4134-85EC-DB5A94D4A260}" presName="Name19" presStyleLbl="parChTrans1D3" presStyleIdx="2" presStyleCnt="4"/>
      <dgm:spPr/>
      <dgm:t>
        <a:bodyPr/>
        <a:lstStyle/>
        <a:p>
          <a:endParaRPr lang="da-DK"/>
        </a:p>
      </dgm:t>
    </dgm:pt>
    <dgm:pt modelId="{2E482DD7-44F7-46D6-ACE6-9A182C06E1FC}" type="pres">
      <dgm:prSet presAssocID="{2395FB62-4756-4F8F-B828-8C3AA2A4BCB5}" presName="Name21" presStyleCnt="0"/>
      <dgm:spPr/>
    </dgm:pt>
    <dgm:pt modelId="{36F2B334-323F-49C8-9786-AE09C77852EB}" type="pres">
      <dgm:prSet presAssocID="{2395FB62-4756-4F8F-B828-8C3AA2A4BCB5}" presName="level2Shape" presStyleLbl="node3" presStyleIdx="2" presStyleCnt="4"/>
      <dgm:spPr/>
      <dgm:t>
        <a:bodyPr/>
        <a:lstStyle/>
        <a:p>
          <a:endParaRPr lang="da-DK"/>
        </a:p>
      </dgm:t>
    </dgm:pt>
    <dgm:pt modelId="{8E604220-88BF-46FF-9681-315C9BD29726}" type="pres">
      <dgm:prSet presAssocID="{2395FB62-4756-4F8F-B828-8C3AA2A4BCB5}" presName="hierChild3" presStyleCnt="0"/>
      <dgm:spPr/>
    </dgm:pt>
    <dgm:pt modelId="{3D8CE626-7FE5-4D5D-A66C-68F1749F52D9}" type="pres">
      <dgm:prSet presAssocID="{64DB677B-3C91-436A-B0BE-ED0C87B49E40}" presName="Name19" presStyleLbl="parChTrans1D3" presStyleIdx="3" presStyleCnt="4"/>
      <dgm:spPr/>
      <dgm:t>
        <a:bodyPr/>
        <a:lstStyle/>
        <a:p>
          <a:endParaRPr lang="da-DK"/>
        </a:p>
      </dgm:t>
    </dgm:pt>
    <dgm:pt modelId="{4F47039E-6261-44F2-B50B-059A626FD975}" type="pres">
      <dgm:prSet presAssocID="{D2DDF88C-250C-4317-8A99-5F6A64287FF7}" presName="Name21" presStyleCnt="0"/>
      <dgm:spPr/>
    </dgm:pt>
    <dgm:pt modelId="{28658E3F-E9DB-4533-A4E5-028442BAC5E5}" type="pres">
      <dgm:prSet presAssocID="{D2DDF88C-250C-4317-8A99-5F6A64287FF7}" presName="level2Shape" presStyleLbl="node3" presStyleIdx="3" presStyleCnt="4"/>
      <dgm:spPr/>
      <dgm:t>
        <a:bodyPr/>
        <a:lstStyle/>
        <a:p>
          <a:endParaRPr lang="da-DK"/>
        </a:p>
      </dgm:t>
    </dgm:pt>
    <dgm:pt modelId="{5F66D6A0-696D-4842-9C51-E2301F0FE5F3}" type="pres">
      <dgm:prSet presAssocID="{D2DDF88C-250C-4317-8A99-5F6A64287FF7}" presName="hierChild3" presStyleCnt="0"/>
      <dgm:spPr/>
    </dgm:pt>
    <dgm:pt modelId="{D557394E-7961-4FBC-A881-DBAD724A2CC3}" type="pres">
      <dgm:prSet presAssocID="{CAE93682-52F2-4794-8D89-CB8C1A081787}" presName="bgShapesFlow" presStyleCnt="0"/>
      <dgm:spPr/>
    </dgm:pt>
    <dgm:pt modelId="{90B52212-7FDB-4E8B-BE25-8E663E8504DA}" type="pres">
      <dgm:prSet presAssocID="{7655D84F-A3A6-415C-A97A-D3C54F4EEC4E}" presName="rectComp" presStyleCnt="0"/>
      <dgm:spPr/>
    </dgm:pt>
    <dgm:pt modelId="{13310661-7346-4C0F-BA00-BBE22F0B6C0D}" type="pres">
      <dgm:prSet presAssocID="{7655D84F-A3A6-415C-A97A-D3C54F4EEC4E}" presName="bgRect" presStyleLbl="bgShp" presStyleIdx="0" presStyleCnt="5"/>
      <dgm:spPr/>
      <dgm:t>
        <a:bodyPr/>
        <a:lstStyle/>
        <a:p>
          <a:endParaRPr lang="da-DK"/>
        </a:p>
      </dgm:t>
    </dgm:pt>
    <dgm:pt modelId="{A58B84E2-178A-4029-B47B-EFE7ADBF5F4F}" type="pres">
      <dgm:prSet presAssocID="{7655D84F-A3A6-415C-A97A-D3C54F4EEC4E}" presName="bgRectTx" presStyleLbl="bgShp" presStyleIdx="0" presStyleCnt="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15CA65C-BDB2-4975-8309-DAD8436B9E97}" type="pres">
      <dgm:prSet presAssocID="{7655D84F-A3A6-415C-A97A-D3C54F4EEC4E}" presName="spComp" presStyleCnt="0"/>
      <dgm:spPr/>
    </dgm:pt>
    <dgm:pt modelId="{A64F2507-B160-4351-9859-9B1DBED85DA6}" type="pres">
      <dgm:prSet presAssocID="{7655D84F-A3A6-415C-A97A-D3C54F4EEC4E}" presName="vSp" presStyleCnt="0"/>
      <dgm:spPr/>
    </dgm:pt>
    <dgm:pt modelId="{3BC01BBD-1369-43D5-B23D-1B9BB7907A32}" type="pres">
      <dgm:prSet presAssocID="{449EFB38-D1DD-460F-BC9A-9064402DAB4C}" presName="rectComp" presStyleCnt="0"/>
      <dgm:spPr/>
    </dgm:pt>
    <dgm:pt modelId="{ED41F3CF-5047-4FFA-B944-E3DA2B861E61}" type="pres">
      <dgm:prSet presAssocID="{449EFB38-D1DD-460F-BC9A-9064402DAB4C}" presName="bgRect" presStyleLbl="bgShp" presStyleIdx="1" presStyleCnt="5"/>
      <dgm:spPr/>
      <dgm:t>
        <a:bodyPr/>
        <a:lstStyle/>
        <a:p>
          <a:endParaRPr lang="da-DK"/>
        </a:p>
      </dgm:t>
    </dgm:pt>
    <dgm:pt modelId="{7B8874E8-567A-428F-B677-00D1FE0C76A4}" type="pres">
      <dgm:prSet presAssocID="{449EFB38-D1DD-460F-BC9A-9064402DAB4C}" presName="bgRectTx" presStyleLbl="bgShp" presStyleIdx="1" presStyleCnt="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F3BCCE3F-EB4A-48A6-9792-798FA26ABCD9}" type="pres">
      <dgm:prSet presAssocID="{449EFB38-D1DD-460F-BC9A-9064402DAB4C}" presName="spComp" presStyleCnt="0"/>
      <dgm:spPr/>
    </dgm:pt>
    <dgm:pt modelId="{40DBCE14-B5FA-488A-BAFA-7135945FC9EB}" type="pres">
      <dgm:prSet presAssocID="{449EFB38-D1DD-460F-BC9A-9064402DAB4C}" presName="vSp" presStyleCnt="0"/>
      <dgm:spPr/>
    </dgm:pt>
    <dgm:pt modelId="{471EE6C1-AD13-409D-9143-4118EB0D148E}" type="pres">
      <dgm:prSet presAssocID="{CF8CF17B-5D63-4826-A5FE-ECE84DD01240}" presName="rectComp" presStyleCnt="0"/>
      <dgm:spPr/>
    </dgm:pt>
    <dgm:pt modelId="{FEE57002-3CA7-4643-A5D9-4432E114ACA9}" type="pres">
      <dgm:prSet presAssocID="{CF8CF17B-5D63-4826-A5FE-ECE84DD01240}" presName="bgRect" presStyleLbl="bgShp" presStyleIdx="2" presStyleCnt="5"/>
      <dgm:spPr/>
      <dgm:t>
        <a:bodyPr/>
        <a:lstStyle/>
        <a:p>
          <a:endParaRPr lang="da-DK"/>
        </a:p>
      </dgm:t>
    </dgm:pt>
    <dgm:pt modelId="{1888D5CF-1A2D-46F3-8346-70468D9330FA}" type="pres">
      <dgm:prSet presAssocID="{CF8CF17B-5D63-4826-A5FE-ECE84DD01240}" presName="bgRectTx" presStyleLbl="bgShp" presStyleIdx="2" presStyleCnt="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F896589B-2BCC-4EDC-9679-1F7F4E2F6D2B}" type="pres">
      <dgm:prSet presAssocID="{CF8CF17B-5D63-4826-A5FE-ECE84DD01240}" presName="spComp" presStyleCnt="0"/>
      <dgm:spPr/>
    </dgm:pt>
    <dgm:pt modelId="{9E4EF959-0D13-4799-89D5-265B930C06E4}" type="pres">
      <dgm:prSet presAssocID="{CF8CF17B-5D63-4826-A5FE-ECE84DD01240}" presName="vSp" presStyleCnt="0"/>
      <dgm:spPr/>
    </dgm:pt>
    <dgm:pt modelId="{2BC5561F-E6DD-488A-BAF4-0B3BFAFDDF34}" type="pres">
      <dgm:prSet presAssocID="{DA0CF4A7-93B4-456B-9EB0-0335A4E39CFB}" presName="rectComp" presStyleCnt="0"/>
      <dgm:spPr/>
    </dgm:pt>
    <dgm:pt modelId="{9E459289-AB61-4517-A727-FB974C19E5C4}" type="pres">
      <dgm:prSet presAssocID="{DA0CF4A7-93B4-456B-9EB0-0335A4E39CFB}" presName="bgRect" presStyleLbl="bgShp" presStyleIdx="3" presStyleCnt="5"/>
      <dgm:spPr/>
      <dgm:t>
        <a:bodyPr/>
        <a:lstStyle/>
        <a:p>
          <a:endParaRPr lang="da-DK"/>
        </a:p>
      </dgm:t>
    </dgm:pt>
    <dgm:pt modelId="{7D807AEC-78F1-4670-90F1-4901A2DDC52F}" type="pres">
      <dgm:prSet presAssocID="{DA0CF4A7-93B4-456B-9EB0-0335A4E39CFB}" presName="bgRectTx" presStyleLbl="bgShp" presStyleIdx="3" presStyleCnt="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9824A2C-A651-4449-B2EA-C8E11152C64F}" type="pres">
      <dgm:prSet presAssocID="{DA0CF4A7-93B4-456B-9EB0-0335A4E39CFB}" presName="spComp" presStyleCnt="0"/>
      <dgm:spPr/>
    </dgm:pt>
    <dgm:pt modelId="{EE6D5C9C-5186-473B-8479-78EB8369D264}" type="pres">
      <dgm:prSet presAssocID="{DA0CF4A7-93B4-456B-9EB0-0335A4E39CFB}" presName="vSp" presStyleCnt="0"/>
      <dgm:spPr/>
    </dgm:pt>
    <dgm:pt modelId="{51EB94F1-2EAE-4D09-AC86-B6B2FC818557}" type="pres">
      <dgm:prSet presAssocID="{37DC84CC-A13C-40EE-8918-F7096A44EDF2}" presName="rectComp" presStyleCnt="0"/>
      <dgm:spPr/>
    </dgm:pt>
    <dgm:pt modelId="{48341131-BB10-4090-8A4B-F4D6443981B9}" type="pres">
      <dgm:prSet presAssocID="{37DC84CC-A13C-40EE-8918-F7096A44EDF2}" presName="bgRect" presStyleLbl="bgShp" presStyleIdx="4" presStyleCnt="5"/>
      <dgm:spPr/>
      <dgm:t>
        <a:bodyPr/>
        <a:lstStyle/>
        <a:p>
          <a:endParaRPr lang="da-DK"/>
        </a:p>
      </dgm:t>
    </dgm:pt>
    <dgm:pt modelId="{932C60BB-7DDA-443D-9C1D-0E3E46C87C9C}" type="pres">
      <dgm:prSet presAssocID="{37DC84CC-A13C-40EE-8918-F7096A44EDF2}" presName="bgRectTx" presStyleLbl="bgShp" presStyleIdx="4" presStyleCnt="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071A578D-DF7A-4F34-A683-643F5E41E6CF}" srcId="{84A90CC7-2269-4C92-9632-F4539993EB36}" destId="{0B1CDF44-A57F-47AF-A9C3-B700E9C538BC}" srcOrd="0" destOrd="0" parTransId="{94AAD0F7-C339-40E6-9700-D070270AB1B4}" sibTransId="{322DCD3E-680D-4388-BCC7-98A5EE8BDCA0}"/>
    <dgm:cxn modelId="{38F500F7-0177-424E-BB3B-F4B52F2ADD7A}" srcId="{DDC784CB-DD07-4654-A042-E9F7758B5489}" destId="{A0604BAF-114D-4714-B0EE-66D2F14C8C57}" srcOrd="1" destOrd="0" parTransId="{361C388F-3B3F-4BEB-84E6-79FA81D1E9D4}" sibTransId="{1891F164-4BB1-4138-82BC-3032289B3336}"/>
    <dgm:cxn modelId="{F18DB517-7315-4988-8EAD-FA3BC9C1E740}" srcId="{31D49F3E-300F-40EA-B88C-C404EF92BB61}" destId="{2395FB62-4756-4F8F-B828-8C3AA2A4BCB5}" srcOrd="0" destOrd="0" parTransId="{E3F9A7FC-7314-4134-85EC-DB5A94D4A260}" sibTransId="{470F6FF1-19F6-460C-8362-D128AAB6EF6C}"/>
    <dgm:cxn modelId="{C46B0E2B-0946-40CD-ABFF-36D15761DB67}" type="presOf" srcId="{40FC3921-78DC-4BA8-8586-2CC511A07B6A}" destId="{A192A56E-EFB0-4CEE-B52A-987530172ED9}" srcOrd="0" destOrd="0" presId="urn:microsoft.com/office/officeart/2005/8/layout/hierarchy6"/>
    <dgm:cxn modelId="{DAAE76DC-4859-4397-9A71-4B2B6FF039C2}" srcId="{CAE93682-52F2-4794-8D89-CB8C1A081787}" destId="{7655D84F-A3A6-415C-A97A-D3C54F4EEC4E}" srcOrd="1" destOrd="0" parTransId="{F75D3893-ACB3-4DD9-BDCA-01BC27C18DB1}" sibTransId="{AC2F5753-3A58-4C2C-B30E-BB588B832AF2}"/>
    <dgm:cxn modelId="{817323BF-244F-4237-B20D-03B944F4E349}" type="presOf" srcId="{E3F9A7FC-7314-4134-85EC-DB5A94D4A260}" destId="{0F29ADB5-A3BB-41C0-957C-0FB3FE02B8D2}" srcOrd="0" destOrd="0" presId="urn:microsoft.com/office/officeart/2005/8/layout/hierarchy6"/>
    <dgm:cxn modelId="{68DA3AE3-CEB3-44CA-8C42-F095CDAADF12}" type="presOf" srcId="{37DC84CC-A13C-40EE-8918-F7096A44EDF2}" destId="{48341131-BB10-4090-8A4B-F4D6443981B9}" srcOrd="0" destOrd="0" presId="urn:microsoft.com/office/officeart/2005/8/layout/hierarchy6"/>
    <dgm:cxn modelId="{4B16E34A-B56B-40FF-B5F6-6AE1E1DCC3CC}" type="presOf" srcId="{CAE93682-52F2-4794-8D89-CB8C1A081787}" destId="{21CE0F1A-C6B6-42AB-B211-83BAC95E06DB}" srcOrd="0" destOrd="0" presId="urn:microsoft.com/office/officeart/2005/8/layout/hierarchy6"/>
    <dgm:cxn modelId="{DA800432-29E3-4D56-A324-3FC348F79C2C}" type="presOf" srcId="{64DB677B-3C91-436A-B0BE-ED0C87B49E40}" destId="{3D8CE626-7FE5-4D5D-A66C-68F1749F52D9}" srcOrd="0" destOrd="0" presId="urn:microsoft.com/office/officeart/2005/8/layout/hierarchy6"/>
    <dgm:cxn modelId="{49E64CD8-503B-4F5E-A810-395B9F36B7BF}" type="presOf" srcId="{B87E239D-8D0B-4C98-97C1-616FA09BC6E2}" destId="{519572B4-B27A-4F07-BCA1-025FD1BACB68}" srcOrd="0" destOrd="0" presId="urn:microsoft.com/office/officeart/2005/8/layout/hierarchy6"/>
    <dgm:cxn modelId="{F9C0F8E0-5A4E-4B28-B075-5192054A42F0}" srcId="{88DCF78F-D755-4EE1-88F2-52A8A8CC895E}" destId="{31D49F3E-300F-40EA-B88C-C404EF92BB61}" srcOrd="1" destOrd="0" parTransId="{768F10E6-DD34-4EEF-9843-337812E45413}" sibTransId="{D2CA3D0E-F636-400B-A298-78A238AF6C76}"/>
    <dgm:cxn modelId="{8D95858A-B59E-4E46-8E3B-BC77E0D7C68A}" type="presOf" srcId="{0B1CDF44-A57F-47AF-A9C3-B700E9C538BC}" destId="{05669FBD-F2FE-439A-8885-7C85B7F89F28}" srcOrd="0" destOrd="0" presId="urn:microsoft.com/office/officeart/2005/8/layout/hierarchy6"/>
    <dgm:cxn modelId="{43BF6BD6-4416-4CE1-8D22-3D46D1ACD16F}" type="presOf" srcId="{449EFB38-D1DD-460F-BC9A-9064402DAB4C}" destId="{7B8874E8-567A-428F-B677-00D1FE0C76A4}" srcOrd="1" destOrd="0" presId="urn:microsoft.com/office/officeart/2005/8/layout/hierarchy6"/>
    <dgm:cxn modelId="{EA7E7B3B-65E1-4668-AA07-B109B8949594}" type="presOf" srcId="{D9226D6C-DE0B-4057-B970-28EE884CFDD6}" destId="{7B764904-EF69-49F5-AC3C-18F56FB3024C}" srcOrd="0" destOrd="0" presId="urn:microsoft.com/office/officeart/2005/8/layout/hierarchy6"/>
    <dgm:cxn modelId="{44919737-ECF8-4520-BE77-9D55FA5B10C6}" srcId="{CAE93682-52F2-4794-8D89-CB8C1A081787}" destId="{DA0CF4A7-93B4-456B-9EB0-0335A4E39CFB}" srcOrd="4" destOrd="0" parTransId="{7B2357D8-06C3-4B13-B38F-3FA0ED7D83A9}" sibTransId="{941D3472-05F8-49C9-91B0-0F3288109422}"/>
    <dgm:cxn modelId="{30941D90-1E97-47C8-B2AA-88997677CFDD}" type="presOf" srcId="{88DCF78F-D755-4EE1-88F2-52A8A8CC895E}" destId="{24A492CD-0C86-4341-9A6E-30DEEF6E13D9}" srcOrd="0" destOrd="0" presId="urn:microsoft.com/office/officeart/2005/8/layout/hierarchy6"/>
    <dgm:cxn modelId="{EC2D3595-1730-414E-B55C-B896ECA67859}" type="presOf" srcId="{7655D84F-A3A6-415C-A97A-D3C54F4EEC4E}" destId="{A58B84E2-178A-4029-B47B-EFE7ADBF5F4F}" srcOrd="1" destOrd="0" presId="urn:microsoft.com/office/officeart/2005/8/layout/hierarchy6"/>
    <dgm:cxn modelId="{FA7DC458-A006-4BCE-BC9C-5094F359BE3A}" type="presOf" srcId="{A0604BAF-114D-4714-B0EE-66D2F14C8C57}" destId="{41B08630-9E74-44FA-8D39-053174FE9F3E}" srcOrd="0" destOrd="0" presId="urn:microsoft.com/office/officeart/2005/8/layout/hierarchy6"/>
    <dgm:cxn modelId="{34EA544D-48E1-40DA-BA57-5EE5B7D54650}" type="presOf" srcId="{85AA358C-80CA-4055-9549-999D529CB9A9}" destId="{7572AAE9-4C42-4058-B76B-45901AD24627}" srcOrd="0" destOrd="0" presId="urn:microsoft.com/office/officeart/2005/8/layout/hierarchy6"/>
    <dgm:cxn modelId="{2547E01D-C22B-416F-810B-8880CFBC61A3}" srcId="{B87E239D-8D0B-4C98-97C1-616FA09BC6E2}" destId="{622A3DAE-C920-4E1C-89E5-0DF9AD27C897}" srcOrd="0" destOrd="0" parTransId="{40FC3921-78DC-4BA8-8586-2CC511A07B6A}" sibTransId="{D5AE2D3A-EBD2-4757-8AC3-513025D01E1C}"/>
    <dgm:cxn modelId="{C02BDFB8-B317-4389-824B-958DE364D322}" type="presOf" srcId="{DDC784CB-DD07-4654-A042-E9F7758B5489}" destId="{336FF67F-22C8-4A7D-B142-400E8909288E}" srcOrd="0" destOrd="0" presId="urn:microsoft.com/office/officeart/2005/8/layout/hierarchy6"/>
    <dgm:cxn modelId="{DD3F3361-AC74-4F04-BFCE-FB648DBE4B8A}" type="presOf" srcId="{361C388F-3B3F-4BEB-84E6-79FA81D1E9D4}" destId="{CED5566E-AB36-47F0-A25F-8DC7EEC44572}" srcOrd="0" destOrd="0" presId="urn:microsoft.com/office/officeart/2005/8/layout/hierarchy6"/>
    <dgm:cxn modelId="{26774649-0793-460A-8AFE-8C08D092F182}" srcId="{CAE93682-52F2-4794-8D89-CB8C1A081787}" destId="{CF8CF17B-5D63-4826-A5FE-ECE84DD01240}" srcOrd="3" destOrd="0" parTransId="{C3747420-ED5D-4E2D-AFE3-ADBAD2583798}" sibTransId="{83F6B0F3-D9B8-4DCD-A07A-6D4135F4FDD5}"/>
    <dgm:cxn modelId="{B4E59A61-23A2-44BD-B342-B4CE89D8FF07}" srcId="{88DCF78F-D755-4EE1-88F2-52A8A8CC895E}" destId="{84A90CC7-2269-4C92-9632-F4539993EB36}" srcOrd="0" destOrd="0" parTransId="{0DA55AD8-7FBA-438B-AAE5-F2DE271311D8}" sibTransId="{833D1399-1C1B-4ED4-AA0B-3F9E0606D115}"/>
    <dgm:cxn modelId="{9FBCF6EC-1888-472A-A17E-941245BE7428}" type="presOf" srcId="{37DC84CC-A13C-40EE-8918-F7096A44EDF2}" destId="{932C60BB-7DDA-443D-9C1D-0E3E46C87C9C}" srcOrd="1" destOrd="0" presId="urn:microsoft.com/office/officeart/2005/8/layout/hierarchy6"/>
    <dgm:cxn modelId="{22F014E4-6FEE-4960-BBFF-A77E25822314}" srcId="{A0604BAF-114D-4714-B0EE-66D2F14C8C57}" destId="{D9226D6C-DE0B-4057-B970-28EE884CFDD6}" srcOrd="1" destOrd="0" parTransId="{92C12E4A-C2F7-4601-9465-5D458D0D4164}" sibTransId="{6D8C86E1-1D31-449E-9659-8A43099D440C}"/>
    <dgm:cxn modelId="{A25C56F7-CA5F-48E7-81EE-913AAFAB66AE}" type="presOf" srcId="{449EFB38-D1DD-460F-BC9A-9064402DAB4C}" destId="{ED41F3CF-5047-4FFA-B944-E3DA2B861E61}" srcOrd="0" destOrd="0" presId="urn:microsoft.com/office/officeart/2005/8/layout/hierarchy6"/>
    <dgm:cxn modelId="{E08AF3E2-E3AF-4072-A48A-185723739C17}" type="presOf" srcId="{94AAD0F7-C339-40E6-9700-D070270AB1B4}" destId="{D54D8F06-C8B8-4799-814B-4BC021CEEC49}" srcOrd="0" destOrd="0" presId="urn:microsoft.com/office/officeart/2005/8/layout/hierarchy6"/>
    <dgm:cxn modelId="{B6FADF5E-93AD-4F82-8C3A-F20723C38F9C}" type="presOf" srcId="{31D49F3E-300F-40EA-B88C-C404EF92BB61}" destId="{6A298CE0-1EA2-4800-9D98-B259408B384A}" srcOrd="0" destOrd="0" presId="urn:microsoft.com/office/officeart/2005/8/layout/hierarchy6"/>
    <dgm:cxn modelId="{1274C7CE-645E-437B-B76A-363B7E175DC7}" type="presOf" srcId="{00142645-0E4C-4FC4-9C2A-5EBB7C3B1A93}" destId="{7DF82C14-AD98-40B6-A6B0-241FA684C628}" srcOrd="0" destOrd="0" presId="urn:microsoft.com/office/officeart/2005/8/layout/hierarchy6"/>
    <dgm:cxn modelId="{F5BB948D-4591-4C08-9BA7-946A13451BE6}" type="presOf" srcId="{7655D84F-A3A6-415C-A97A-D3C54F4EEC4E}" destId="{13310661-7346-4C0F-BA00-BBE22F0B6C0D}" srcOrd="0" destOrd="0" presId="urn:microsoft.com/office/officeart/2005/8/layout/hierarchy6"/>
    <dgm:cxn modelId="{48E8D09E-BE5F-472B-9DB0-436AABEB146C}" srcId="{CAE93682-52F2-4794-8D89-CB8C1A081787}" destId="{37DC84CC-A13C-40EE-8918-F7096A44EDF2}" srcOrd="5" destOrd="0" parTransId="{894ED612-06F2-4C99-A9CA-735EA0CFB1EF}" sibTransId="{81F0B877-2582-47DD-8821-E692B4A51E20}"/>
    <dgm:cxn modelId="{9EEBC0CB-DF52-4EA7-BD81-43469656E112}" type="presOf" srcId="{DA0CF4A7-93B4-456B-9EB0-0335A4E39CFB}" destId="{7D807AEC-78F1-4670-90F1-4901A2DDC52F}" srcOrd="1" destOrd="0" presId="urn:microsoft.com/office/officeart/2005/8/layout/hierarchy6"/>
    <dgm:cxn modelId="{7808447B-D232-4108-A534-5E98937A9C66}" srcId="{84A90CC7-2269-4C92-9632-F4539993EB36}" destId="{DDC784CB-DD07-4654-A042-E9F7758B5489}" srcOrd="1" destOrd="0" parTransId="{00142645-0E4C-4FC4-9C2A-5EBB7C3B1A93}" sibTransId="{EB9B0DFD-6F5E-4EE4-8DD6-38D0F8D798BE}"/>
    <dgm:cxn modelId="{CAA94734-1D5D-4E46-8846-22B06DC08558}" type="presOf" srcId="{622A3DAE-C920-4E1C-89E5-0DF9AD27C897}" destId="{662D775B-6927-41C4-9904-4FE73CABF365}" srcOrd="0" destOrd="0" presId="urn:microsoft.com/office/officeart/2005/8/layout/hierarchy6"/>
    <dgm:cxn modelId="{E889BCDF-9860-4CAA-8270-689575AC0E87}" srcId="{DDC784CB-DD07-4654-A042-E9F7758B5489}" destId="{B87E239D-8D0B-4C98-97C1-616FA09BC6E2}" srcOrd="0" destOrd="0" parTransId="{85AA358C-80CA-4055-9549-999D529CB9A9}" sibTransId="{7F910D18-C8F7-41FE-B5BB-FBB4FFD68FFC}"/>
    <dgm:cxn modelId="{39D65AB1-43CC-4C4B-B32F-89429A6DF176}" type="presOf" srcId="{2395FB62-4756-4F8F-B828-8C3AA2A4BCB5}" destId="{36F2B334-323F-49C8-9786-AE09C77852EB}" srcOrd="0" destOrd="0" presId="urn:microsoft.com/office/officeart/2005/8/layout/hierarchy6"/>
    <dgm:cxn modelId="{D6A3731E-19BF-4BC9-AA62-4F173B05AEF1}" srcId="{31D49F3E-300F-40EA-B88C-C404EF92BB61}" destId="{D2DDF88C-250C-4317-8A99-5F6A64287FF7}" srcOrd="1" destOrd="0" parTransId="{64DB677B-3C91-436A-B0BE-ED0C87B49E40}" sibTransId="{CA172542-32C6-49F0-B077-C976BCD401AE}"/>
    <dgm:cxn modelId="{0599C735-048B-4472-9B93-7F6534B3A4BE}" type="presOf" srcId="{C1FBE1CD-8EA7-4DDF-BAE5-774CF0EBE047}" destId="{503B3D2B-96C9-4D77-94B6-AF8081CB3852}" srcOrd="0" destOrd="0" presId="urn:microsoft.com/office/officeart/2005/8/layout/hierarchy6"/>
    <dgm:cxn modelId="{11E29596-DC8D-457C-88C2-C5261A2FD9DD}" type="presOf" srcId="{CF8CF17B-5D63-4826-A5FE-ECE84DD01240}" destId="{1888D5CF-1A2D-46F3-8346-70468D9330FA}" srcOrd="1" destOrd="0" presId="urn:microsoft.com/office/officeart/2005/8/layout/hierarchy6"/>
    <dgm:cxn modelId="{923EE34D-AA57-4562-BC0A-504DC907E33B}" srcId="{CAE93682-52F2-4794-8D89-CB8C1A081787}" destId="{88DCF78F-D755-4EE1-88F2-52A8A8CC895E}" srcOrd="0" destOrd="0" parTransId="{ED1ABC42-5845-4768-83E7-82E8620AB267}" sibTransId="{EC910C59-0354-454C-886A-7B565AACFAF7}"/>
    <dgm:cxn modelId="{06D5BFF9-5B44-4F2E-B688-060FDBCEC249}" type="presOf" srcId="{CF8CF17B-5D63-4826-A5FE-ECE84DD01240}" destId="{FEE57002-3CA7-4643-A5D9-4432E114ACA9}" srcOrd="0" destOrd="0" presId="urn:microsoft.com/office/officeart/2005/8/layout/hierarchy6"/>
    <dgm:cxn modelId="{CA534116-E263-4F7F-9F0A-D43B0995158F}" type="presOf" srcId="{D2DDF88C-250C-4317-8A99-5F6A64287FF7}" destId="{28658E3F-E9DB-4533-A4E5-028442BAC5E5}" srcOrd="0" destOrd="0" presId="urn:microsoft.com/office/officeart/2005/8/layout/hierarchy6"/>
    <dgm:cxn modelId="{870D3889-96FC-46AC-B136-40CA3E569337}" srcId="{CAE93682-52F2-4794-8D89-CB8C1A081787}" destId="{449EFB38-D1DD-460F-BC9A-9064402DAB4C}" srcOrd="2" destOrd="0" parTransId="{8B3D8D3D-0B05-4537-9031-0F2D6F0210FD}" sibTransId="{9CE05998-03A8-4E3B-AA7D-0FC7AB7028CD}"/>
    <dgm:cxn modelId="{9D6616D1-4B40-4D88-BB54-28B68F52AD65}" type="presOf" srcId="{0DA55AD8-7FBA-438B-AAE5-F2DE271311D8}" destId="{00EC8492-BC28-474F-847D-8A4AD9EB7FD9}" srcOrd="0" destOrd="0" presId="urn:microsoft.com/office/officeart/2005/8/layout/hierarchy6"/>
    <dgm:cxn modelId="{A65ABA12-0F0D-4892-BE4C-9CA8E68E080C}" type="presOf" srcId="{92C12E4A-C2F7-4601-9465-5D458D0D4164}" destId="{2D2F9388-9F61-4DEE-9898-4570FCA0B9FD}" srcOrd="0" destOrd="0" presId="urn:microsoft.com/office/officeart/2005/8/layout/hierarchy6"/>
    <dgm:cxn modelId="{ABB449FC-F032-448A-B4CE-FD70CB2D30CA}" srcId="{A0604BAF-114D-4714-B0EE-66D2F14C8C57}" destId="{C1FBE1CD-8EA7-4DDF-BAE5-774CF0EBE047}" srcOrd="0" destOrd="0" parTransId="{E5ED79DC-B373-420E-B697-463AF6D66E46}" sibTransId="{2BD3B13C-06BD-4DBA-968C-BE4DC9D358E5}"/>
    <dgm:cxn modelId="{E666D3A4-FA68-49A0-9A51-5B4904A3F6BD}" type="presOf" srcId="{DA0CF4A7-93B4-456B-9EB0-0335A4E39CFB}" destId="{9E459289-AB61-4517-A727-FB974C19E5C4}" srcOrd="0" destOrd="0" presId="urn:microsoft.com/office/officeart/2005/8/layout/hierarchy6"/>
    <dgm:cxn modelId="{E6C392E2-2A25-40A0-989E-F257D5440DDF}" type="presOf" srcId="{768F10E6-DD34-4EEF-9843-337812E45413}" destId="{F727B089-9D8C-402D-BCF8-AE582A23A258}" srcOrd="0" destOrd="0" presId="urn:microsoft.com/office/officeart/2005/8/layout/hierarchy6"/>
    <dgm:cxn modelId="{91A0F3C0-8D3B-4A4A-A083-22E7574D2EE6}" type="presOf" srcId="{84A90CC7-2269-4C92-9632-F4539993EB36}" destId="{45EF13DB-379F-46DE-A12A-6A6EAC0137C2}" srcOrd="0" destOrd="0" presId="urn:microsoft.com/office/officeart/2005/8/layout/hierarchy6"/>
    <dgm:cxn modelId="{7F537C55-4FA3-4A42-8353-6F15ADD3C69B}" type="presOf" srcId="{E5ED79DC-B373-420E-B697-463AF6D66E46}" destId="{0DA3D105-D245-4B8D-A6AD-8BF94491636A}" srcOrd="0" destOrd="0" presId="urn:microsoft.com/office/officeart/2005/8/layout/hierarchy6"/>
    <dgm:cxn modelId="{AD343ABE-E4CE-4E31-A5F3-5610E145D841}" type="presParOf" srcId="{21CE0F1A-C6B6-42AB-B211-83BAC95E06DB}" destId="{0FC6AFBD-8731-4CEF-9B89-FF974C8AA301}" srcOrd="0" destOrd="0" presId="urn:microsoft.com/office/officeart/2005/8/layout/hierarchy6"/>
    <dgm:cxn modelId="{B38891CC-2271-40A0-8DB5-733E745413D5}" type="presParOf" srcId="{0FC6AFBD-8731-4CEF-9B89-FF974C8AA301}" destId="{577F753C-C2A0-41F2-AE23-562855BBB23C}" srcOrd="0" destOrd="0" presId="urn:microsoft.com/office/officeart/2005/8/layout/hierarchy6"/>
    <dgm:cxn modelId="{EC2D6993-2C49-47D7-A5D0-367D562FF8FC}" type="presParOf" srcId="{0FC6AFBD-8731-4CEF-9B89-FF974C8AA301}" destId="{B266A1FE-A7AF-4F7D-BBC7-77E62679012F}" srcOrd="1" destOrd="0" presId="urn:microsoft.com/office/officeart/2005/8/layout/hierarchy6"/>
    <dgm:cxn modelId="{5B033FBE-7F11-476B-AA72-C0B268408880}" type="presParOf" srcId="{B266A1FE-A7AF-4F7D-BBC7-77E62679012F}" destId="{BDB95179-9C39-4A95-8D0E-35587417002B}" srcOrd="0" destOrd="0" presId="urn:microsoft.com/office/officeart/2005/8/layout/hierarchy6"/>
    <dgm:cxn modelId="{E2D508E7-F218-418E-BA53-5ABDBA89CBDD}" type="presParOf" srcId="{BDB95179-9C39-4A95-8D0E-35587417002B}" destId="{24A492CD-0C86-4341-9A6E-30DEEF6E13D9}" srcOrd="0" destOrd="0" presId="urn:microsoft.com/office/officeart/2005/8/layout/hierarchy6"/>
    <dgm:cxn modelId="{28484BD2-473D-4D63-AC92-0F176A2046F7}" type="presParOf" srcId="{BDB95179-9C39-4A95-8D0E-35587417002B}" destId="{ECB585B2-52D3-4EAA-8E3E-EE91DFFA4CC0}" srcOrd="1" destOrd="0" presId="urn:microsoft.com/office/officeart/2005/8/layout/hierarchy6"/>
    <dgm:cxn modelId="{69F3DA2D-2336-4054-A6D8-706C59E9AEA4}" type="presParOf" srcId="{ECB585B2-52D3-4EAA-8E3E-EE91DFFA4CC0}" destId="{00EC8492-BC28-474F-847D-8A4AD9EB7FD9}" srcOrd="0" destOrd="0" presId="urn:microsoft.com/office/officeart/2005/8/layout/hierarchy6"/>
    <dgm:cxn modelId="{E90D2E20-028F-4C19-833F-9C77334D56FD}" type="presParOf" srcId="{ECB585B2-52D3-4EAA-8E3E-EE91DFFA4CC0}" destId="{19822587-F7A1-4AD3-98B9-4FEF8B2206E1}" srcOrd="1" destOrd="0" presId="urn:microsoft.com/office/officeart/2005/8/layout/hierarchy6"/>
    <dgm:cxn modelId="{1324A26C-CC95-453D-A573-A484A9392DE0}" type="presParOf" srcId="{19822587-F7A1-4AD3-98B9-4FEF8B2206E1}" destId="{45EF13DB-379F-46DE-A12A-6A6EAC0137C2}" srcOrd="0" destOrd="0" presId="urn:microsoft.com/office/officeart/2005/8/layout/hierarchy6"/>
    <dgm:cxn modelId="{FC1494E0-CF81-4FC9-A21C-3727AF668E4A}" type="presParOf" srcId="{19822587-F7A1-4AD3-98B9-4FEF8B2206E1}" destId="{A8A1BB15-A047-4356-A611-00BDF633F081}" srcOrd="1" destOrd="0" presId="urn:microsoft.com/office/officeart/2005/8/layout/hierarchy6"/>
    <dgm:cxn modelId="{BB74AFFB-EFA1-472D-A92D-7990627E64E5}" type="presParOf" srcId="{A8A1BB15-A047-4356-A611-00BDF633F081}" destId="{D54D8F06-C8B8-4799-814B-4BC021CEEC49}" srcOrd="0" destOrd="0" presId="urn:microsoft.com/office/officeart/2005/8/layout/hierarchy6"/>
    <dgm:cxn modelId="{DDDC137F-FA9C-4015-87CD-672B982D3373}" type="presParOf" srcId="{A8A1BB15-A047-4356-A611-00BDF633F081}" destId="{704CCF25-0459-405F-B1C2-BB71F3A5B392}" srcOrd="1" destOrd="0" presId="urn:microsoft.com/office/officeart/2005/8/layout/hierarchy6"/>
    <dgm:cxn modelId="{766F313A-0F06-421C-B006-7BBE54B951CD}" type="presParOf" srcId="{704CCF25-0459-405F-B1C2-BB71F3A5B392}" destId="{05669FBD-F2FE-439A-8885-7C85B7F89F28}" srcOrd="0" destOrd="0" presId="urn:microsoft.com/office/officeart/2005/8/layout/hierarchy6"/>
    <dgm:cxn modelId="{A73ABE03-3587-4FD1-903C-2A44673F08E1}" type="presParOf" srcId="{704CCF25-0459-405F-B1C2-BB71F3A5B392}" destId="{60BE1F97-5DBF-493A-B371-7C70AFD12315}" srcOrd="1" destOrd="0" presId="urn:microsoft.com/office/officeart/2005/8/layout/hierarchy6"/>
    <dgm:cxn modelId="{3CEB6633-DC05-4D29-AD26-90F3466C0ECD}" type="presParOf" srcId="{A8A1BB15-A047-4356-A611-00BDF633F081}" destId="{7DF82C14-AD98-40B6-A6B0-241FA684C628}" srcOrd="2" destOrd="0" presId="urn:microsoft.com/office/officeart/2005/8/layout/hierarchy6"/>
    <dgm:cxn modelId="{0652D77D-1471-4007-BCC5-4F37458308E7}" type="presParOf" srcId="{A8A1BB15-A047-4356-A611-00BDF633F081}" destId="{93D4B77C-3D45-4EB1-80BB-E66B5BD08BF8}" srcOrd="3" destOrd="0" presId="urn:microsoft.com/office/officeart/2005/8/layout/hierarchy6"/>
    <dgm:cxn modelId="{5CE844A5-E317-4D18-BF6B-13792E85D851}" type="presParOf" srcId="{93D4B77C-3D45-4EB1-80BB-E66B5BD08BF8}" destId="{336FF67F-22C8-4A7D-B142-400E8909288E}" srcOrd="0" destOrd="0" presId="urn:microsoft.com/office/officeart/2005/8/layout/hierarchy6"/>
    <dgm:cxn modelId="{29438E67-40D1-451A-AD8B-98B9AD1FD203}" type="presParOf" srcId="{93D4B77C-3D45-4EB1-80BB-E66B5BD08BF8}" destId="{1B767BB1-7BEB-43C2-949D-12EC767AA8C2}" srcOrd="1" destOrd="0" presId="urn:microsoft.com/office/officeart/2005/8/layout/hierarchy6"/>
    <dgm:cxn modelId="{E2842250-8CF6-4F29-AD08-984EDBF6D0D3}" type="presParOf" srcId="{1B767BB1-7BEB-43C2-949D-12EC767AA8C2}" destId="{7572AAE9-4C42-4058-B76B-45901AD24627}" srcOrd="0" destOrd="0" presId="urn:microsoft.com/office/officeart/2005/8/layout/hierarchy6"/>
    <dgm:cxn modelId="{41FDC83A-20E7-4756-B43C-12D9CA3070FD}" type="presParOf" srcId="{1B767BB1-7BEB-43C2-949D-12EC767AA8C2}" destId="{8EBDC555-0BBB-4202-94FF-0F152D39BC68}" srcOrd="1" destOrd="0" presId="urn:microsoft.com/office/officeart/2005/8/layout/hierarchy6"/>
    <dgm:cxn modelId="{FEA51F96-D859-4F52-8087-1410FC63A0D4}" type="presParOf" srcId="{8EBDC555-0BBB-4202-94FF-0F152D39BC68}" destId="{519572B4-B27A-4F07-BCA1-025FD1BACB68}" srcOrd="0" destOrd="0" presId="urn:microsoft.com/office/officeart/2005/8/layout/hierarchy6"/>
    <dgm:cxn modelId="{B4B2A1CA-42A2-4A69-829C-D4B60B382A16}" type="presParOf" srcId="{8EBDC555-0BBB-4202-94FF-0F152D39BC68}" destId="{C0368903-1CC3-4FEB-93E1-E05225011A12}" srcOrd="1" destOrd="0" presId="urn:microsoft.com/office/officeart/2005/8/layout/hierarchy6"/>
    <dgm:cxn modelId="{561A3437-708D-43D2-AC44-2B23AE72F142}" type="presParOf" srcId="{C0368903-1CC3-4FEB-93E1-E05225011A12}" destId="{A192A56E-EFB0-4CEE-B52A-987530172ED9}" srcOrd="0" destOrd="0" presId="urn:microsoft.com/office/officeart/2005/8/layout/hierarchy6"/>
    <dgm:cxn modelId="{57F0D010-C0D5-4F7F-8941-EE5ED1448FBE}" type="presParOf" srcId="{C0368903-1CC3-4FEB-93E1-E05225011A12}" destId="{6E85ED16-F3D0-4FBF-BFE4-0790578675AE}" srcOrd="1" destOrd="0" presId="urn:microsoft.com/office/officeart/2005/8/layout/hierarchy6"/>
    <dgm:cxn modelId="{FC69BC3F-FDBA-4996-A1C7-689CA82E4F4C}" type="presParOf" srcId="{6E85ED16-F3D0-4FBF-BFE4-0790578675AE}" destId="{662D775B-6927-41C4-9904-4FE73CABF365}" srcOrd="0" destOrd="0" presId="urn:microsoft.com/office/officeart/2005/8/layout/hierarchy6"/>
    <dgm:cxn modelId="{B4EDC015-EE97-4C23-9EFC-D82D69438047}" type="presParOf" srcId="{6E85ED16-F3D0-4FBF-BFE4-0790578675AE}" destId="{B1E4B767-5B88-4B50-BD8F-D60CF0752832}" srcOrd="1" destOrd="0" presId="urn:microsoft.com/office/officeart/2005/8/layout/hierarchy6"/>
    <dgm:cxn modelId="{B4821EC6-F855-4E7F-9573-2E2203DC74A3}" type="presParOf" srcId="{1B767BB1-7BEB-43C2-949D-12EC767AA8C2}" destId="{CED5566E-AB36-47F0-A25F-8DC7EEC44572}" srcOrd="2" destOrd="0" presId="urn:microsoft.com/office/officeart/2005/8/layout/hierarchy6"/>
    <dgm:cxn modelId="{5C204AE1-6399-4A6E-89CB-5271BC729D97}" type="presParOf" srcId="{1B767BB1-7BEB-43C2-949D-12EC767AA8C2}" destId="{A03D1D8B-548F-441B-97B4-82CE17632B0C}" srcOrd="3" destOrd="0" presId="urn:microsoft.com/office/officeart/2005/8/layout/hierarchy6"/>
    <dgm:cxn modelId="{18396DAC-CEDA-4BBC-836F-7EE05A5C26EE}" type="presParOf" srcId="{A03D1D8B-548F-441B-97B4-82CE17632B0C}" destId="{41B08630-9E74-44FA-8D39-053174FE9F3E}" srcOrd="0" destOrd="0" presId="urn:microsoft.com/office/officeart/2005/8/layout/hierarchy6"/>
    <dgm:cxn modelId="{8072AA8C-B02C-4CF5-8994-C6EBCA0F7B1B}" type="presParOf" srcId="{A03D1D8B-548F-441B-97B4-82CE17632B0C}" destId="{4280C2F9-A30D-4EBF-811B-E9F2D1F326A3}" srcOrd="1" destOrd="0" presId="urn:microsoft.com/office/officeart/2005/8/layout/hierarchy6"/>
    <dgm:cxn modelId="{9C910FC6-E5FA-4A0A-A95D-0BA26A462278}" type="presParOf" srcId="{4280C2F9-A30D-4EBF-811B-E9F2D1F326A3}" destId="{0DA3D105-D245-4B8D-A6AD-8BF94491636A}" srcOrd="0" destOrd="0" presId="urn:microsoft.com/office/officeart/2005/8/layout/hierarchy6"/>
    <dgm:cxn modelId="{8F14B916-B457-4BFF-9EAE-31DE3B511102}" type="presParOf" srcId="{4280C2F9-A30D-4EBF-811B-E9F2D1F326A3}" destId="{436A91A0-7AAF-42DF-9139-683F0F3E4BBC}" srcOrd="1" destOrd="0" presId="urn:microsoft.com/office/officeart/2005/8/layout/hierarchy6"/>
    <dgm:cxn modelId="{14EDA251-F6E9-4739-936E-6592DCADB17A}" type="presParOf" srcId="{436A91A0-7AAF-42DF-9139-683F0F3E4BBC}" destId="{503B3D2B-96C9-4D77-94B6-AF8081CB3852}" srcOrd="0" destOrd="0" presId="urn:microsoft.com/office/officeart/2005/8/layout/hierarchy6"/>
    <dgm:cxn modelId="{CAD2B86E-F40B-4116-B1B5-81612EF2C511}" type="presParOf" srcId="{436A91A0-7AAF-42DF-9139-683F0F3E4BBC}" destId="{B1B5A0C2-DCB2-4B61-8494-A68BBA8953BD}" srcOrd="1" destOrd="0" presId="urn:microsoft.com/office/officeart/2005/8/layout/hierarchy6"/>
    <dgm:cxn modelId="{E29E1DD4-3775-433D-8BDD-8902AAB82416}" type="presParOf" srcId="{4280C2F9-A30D-4EBF-811B-E9F2D1F326A3}" destId="{2D2F9388-9F61-4DEE-9898-4570FCA0B9FD}" srcOrd="2" destOrd="0" presId="urn:microsoft.com/office/officeart/2005/8/layout/hierarchy6"/>
    <dgm:cxn modelId="{A43D8DB6-B0AF-4902-8956-7B84EC8DE7CC}" type="presParOf" srcId="{4280C2F9-A30D-4EBF-811B-E9F2D1F326A3}" destId="{817CED68-84E1-45DD-B163-C1E831C7EC6F}" srcOrd="3" destOrd="0" presId="urn:microsoft.com/office/officeart/2005/8/layout/hierarchy6"/>
    <dgm:cxn modelId="{8DE7A827-D951-4E11-A8CF-AC8760A79FFB}" type="presParOf" srcId="{817CED68-84E1-45DD-B163-C1E831C7EC6F}" destId="{7B764904-EF69-49F5-AC3C-18F56FB3024C}" srcOrd="0" destOrd="0" presId="urn:microsoft.com/office/officeart/2005/8/layout/hierarchy6"/>
    <dgm:cxn modelId="{F24DCC51-4545-4E29-9249-18A4D30095A3}" type="presParOf" srcId="{817CED68-84E1-45DD-B163-C1E831C7EC6F}" destId="{430B83B0-5A7A-4F90-99F9-4CF6312E26A1}" srcOrd="1" destOrd="0" presId="urn:microsoft.com/office/officeart/2005/8/layout/hierarchy6"/>
    <dgm:cxn modelId="{26D1845B-1795-4B76-9132-14E876800726}" type="presParOf" srcId="{ECB585B2-52D3-4EAA-8E3E-EE91DFFA4CC0}" destId="{F727B089-9D8C-402D-BCF8-AE582A23A258}" srcOrd="2" destOrd="0" presId="urn:microsoft.com/office/officeart/2005/8/layout/hierarchy6"/>
    <dgm:cxn modelId="{8869C9BA-B637-45C0-AAB8-745AAE586CD8}" type="presParOf" srcId="{ECB585B2-52D3-4EAA-8E3E-EE91DFFA4CC0}" destId="{DEBB0863-63B6-4B35-AC01-E654DBE4CA7D}" srcOrd="3" destOrd="0" presId="urn:microsoft.com/office/officeart/2005/8/layout/hierarchy6"/>
    <dgm:cxn modelId="{36157966-A034-43FE-A5AD-10B041AEF6FD}" type="presParOf" srcId="{DEBB0863-63B6-4B35-AC01-E654DBE4CA7D}" destId="{6A298CE0-1EA2-4800-9D98-B259408B384A}" srcOrd="0" destOrd="0" presId="urn:microsoft.com/office/officeart/2005/8/layout/hierarchy6"/>
    <dgm:cxn modelId="{5E0A43E3-B87B-4635-B899-F8CD6F79AE14}" type="presParOf" srcId="{DEBB0863-63B6-4B35-AC01-E654DBE4CA7D}" destId="{21BD6F26-520F-4DAE-BADB-B9B61D9E4B74}" srcOrd="1" destOrd="0" presId="urn:microsoft.com/office/officeart/2005/8/layout/hierarchy6"/>
    <dgm:cxn modelId="{D858B767-B4B0-4506-9980-4C173F2A167F}" type="presParOf" srcId="{21BD6F26-520F-4DAE-BADB-B9B61D9E4B74}" destId="{0F29ADB5-A3BB-41C0-957C-0FB3FE02B8D2}" srcOrd="0" destOrd="0" presId="urn:microsoft.com/office/officeart/2005/8/layout/hierarchy6"/>
    <dgm:cxn modelId="{0125A879-6EFF-43B2-9FFB-A80FEF2FE5FA}" type="presParOf" srcId="{21BD6F26-520F-4DAE-BADB-B9B61D9E4B74}" destId="{2E482DD7-44F7-46D6-ACE6-9A182C06E1FC}" srcOrd="1" destOrd="0" presId="urn:microsoft.com/office/officeart/2005/8/layout/hierarchy6"/>
    <dgm:cxn modelId="{573C318E-E120-403C-8183-5768D6FCB612}" type="presParOf" srcId="{2E482DD7-44F7-46D6-ACE6-9A182C06E1FC}" destId="{36F2B334-323F-49C8-9786-AE09C77852EB}" srcOrd="0" destOrd="0" presId="urn:microsoft.com/office/officeart/2005/8/layout/hierarchy6"/>
    <dgm:cxn modelId="{A34FD459-238B-431C-8E32-B8DD653DE38B}" type="presParOf" srcId="{2E482DD7-44F7-46D6-ACE6-9A182C06E1FC}" destId="{8E604220-88BF-46FF-9681-315C9BD29726}" srcOrd="1" destOrd="0" presId="urn:microsoft.com/office/officeart/2005/8/layout/hierarchy6"/>
    <dgm:cxn modelId="{C87F6AAE-FF70-4511-ABEC-76CA9D576863}" type="presParOf" srcId="{21BD6F26-520F-4DAE-BADB-B9B61D9E4B74}" destId="{3D8CE626-7FE5-4D5D-A66C-68F1749F52D9}" srcOrd="2" destOrd="0" presId="urn:microsoft.com/office/officeart/2005/8/layout/hierarchy6"/>
    <dgm:cxn modelId="{02286026-A45D-4E6A-BBEE-8B8BCDDC1AAD}" type="presParOf" srcId="{21BD6F26-520F-4DAE-BADB-B9B61D9E4B74}" destId="{4F47039E-6261-44F2-B50B-059A626FD975}" srcOrd="3" destOrd="0" presId="urn:microsoft.com/office/officeart/2005/8/layout/hierarchy6"/>
    <dgm:cxn modelId="{CD249FED-3C8E-4355-AA56-82D296641A78}" type="presParOf" srcId="{4F47039E-6261-44F2-B50B-059A626FD975}" destId="{28658E3F-E9DB-4533-A4E5-028442BAC5E5}" srcOrd="0" destOrd="0" presId="urn:microsoft.com/office/officeart/2005/8/layout/hierarchy6"/>
    <dgm:cxn modelId="{A9BFA713-5BE6-4FAD-804F-B55D0499D934}" type="presParOf" srcId="{4F47039E-6261-44F2-B50B-059A626FD975}" destId="{5F66D6A0-696D-4842-9C51-E2301F0FE5F3}" srcOrd="1" destOrd="0" presId="urn:microsoft.com/office/officeart/2005/8/layout/hierarchy6"/>
    <dgm:cxn modelId="{8F4AE03A-E747-4347-AF34-090CB4758C38}" type="presParOf" srcId="{21CE0F1A-C6B6-42AB-B211-83BAC95E06DB}" destId="{D557394E-7961-4FBC-A881-DBAD724A2CC3}" srcOrd="1" destOrd="0" presId="urn:microsoft.com/office/officeart/2005/8/layout/hierarchy6"/>
    <dgm:cxn modelId="{797B3B4E-BB35-4A03-AF64-F91AE2203000}" type="presParOf" srcId="{D557394E-7961-4FBC-A881-DBAD724A2CC3}" destId="{90B52212-7FDB-4E8B-BE25-8E663E8504DA}" srcOrd="0" destOrd="0" presId="urn:microsoft.com/office/officeart/2005/8/layout/hierarchy6"/>
    <dgm:cxn modelId="{28BDBE08-B0CB-46DC-A902-0D66C920251D}" type="presParOf" srcId="{90B52212-7FDB-4E8B-BE25-8E663E8504DA}" destId="{13310661-7346-4C0F-BA00-BBE22F0B6C0D}" srcOrd="0" destOrd="0" presId="urn:microsoft.com/office/officeart/2005/8/layout/hierarchy6"/>
    <dgm:cxn modelId="{343F0BBF-AA93-4176-87A7-1641737611C5}" type="presParOf" srcId="{90B52212-7FDB-4E8B-BE25-8E663E8504DA}" destId="{A58B84E2-178A-4029-B47B-EFE7ADBF5F4F}" srcOrd="1" destOrd="0" presId="urn:microsoft.com/office/officeart/2005/8/layout/hierarchy6"/>
    <dgm:cxn modelId="{DCD5DD17-0984-49AB-A6AB-BE232545943F}" type="presParOf" srcId="{D557394E-7961-4FBC-A881-DBAD724A2CC3}" destId="{215CA65C-BDB2-4975-8309-DAD8436B9E97}" srcOrd="1" destOrd="0" presId="urn:microsoft.com/office/officeart/2005/8/layout/hierarchy6"/>
    <dgm:cxn modelId="{022B6716-62A5-43A5-BCF1-EF3BC6C5A2DA}" type="presParOf" srcId="{215CA65C-BDB2-4975-8309-DAD8436B9E97}" destId="{A64F2507-B160-4351-9859-9B1DBED85DA6}" srcOrd="0" destOrd="0" presId="urn:microsoft.com/office/officeart/2005/8/layout/hierarchy6"/>
    <dgm:cxn modelId="{1E3F0FFE-23CC-4F51-83D7-644FE0E7D7CA}" type="presParOf" srcId="{D557394E-7961-4FBC-A881-DBAD724A2CC3}" destId="{3BC01BBD-1369-43D5-B23D-1B9BB7907A32}" srcOrd="2" destOrd="0" presId="urn:microsoft.com/office/officeart/2005/8/layout/hierarchy6"/>
    <dgm:cxn modelId="{69FEC928-F1E0-4FC1-99A4-A91AA80B83AD}" type="presParOf" srcId="{3BC01BBD-1369-43D5-B23D-1B9BB7907A32}" destId="{ED41F3CF-5047-4FFA-B944-E3DA2B861E61}" srcOrd="0" destOrd="0" presId="urn:microsoft.com/office/officeart/2005/8/layout/hierarchy6"/>
    <dgm:cxn modelId="{66009283-2E84-4C7A-A37A-D1ECC844982B}" type="presParOf" srcId="{3BC01BBD-1369-43D5-B23D-1B9BB7907A32}" destId="{7B8874E8-567A-428F-B677-00D1FE0C76A4}" srcOrd="1" destOrd="0" presId="urn:microsoft.com/office/officeart/2005/8/layout/hierarchy6"/>
    <dgm:cxn modelId="{96F6A5C2-33B1-4F9A-A88F-352FE33DE86D}" type="presParOf" srcId="{D557394E-7961-4FBC-A881-DBAD724A2CC3}" destId="{F3BCCE3F-EB4A-48A6-9792-798FA26ABCD9}" srcOrd="3" destOrd="0" presId="urn:microsoft.com/office/officeart/2005/8/layout/hierarchy6"/>
    <dgm:cxn modelId="{A68446F9-D79E-4CC5-A352-582A15CE29A4}" type="presParOf" srcId="{F3BCCE3F-EB4A-48A6-9792-798FA26ABCD9}" destId="{40DBCE14-B5FA-488A-BAFA-7135945FC9EB}" srcOrd="0" destOrd="0" presId="urn:microsoft.com/office/officeart/2005/8/layout/hierarchy6"/>
    <dgm:cxn modelId="{9D8AD681-AA24-421C-8DC5-E32B5CCB797C}" type="presParOf" srcId="{D557394E-7961-4FBC-A881-DBAD724A2CC3}" destId="{471EE6C1-AD13-409D-9143-4118EB0D148E}" srcOrd="4" destOrd="0" presId="urn:microsoft.com/office/officeart/2005/8/layout/hierarchy6"/>
    <dgm:cxn modelId="{56DE8462-5597-4FC9-B491-19C250DEF31E}" type="presParOf" srcId="{471EE6C1-AD13-409D-9143-4118EB0D148E}" destId="{FEE57002-3CA7-4643-A5D9-4432E114ACA9}" srcOrd="0" destOrd="0" presId="urn:microsoft.com/office/officeart/2005/8/layout/hierarchy6"/>
    <dgm:cxn modelId="{46DF860F-00DC-4644-BED9-07FA964FCAAF}" type="presParOf" srcId="{471EE6C1-AD13-409D-9143-4118EB0D148E}" destId="{1888D5CF-1A2D-46F3-8346-70468D9330FA}" srcOrd="1" destOrd="0" presId="urn:microsoft.com/office/officeart/2005/8/layout/hierarchy6"/>
    <dgm:cxn modelId="{72D1E568-FFB2-481F-AC65-018A6A70F8BC}" type="presParOf" srcId="{D557394E-7961-4FBC-A881-DBAD724A2CC3}" destId="{F896589B-2BCC-4EDC-9679-1F7F4E2F6D2B}" srcOrd="5" destOrd="0" presId="urn:microsoft.com/office/officeart/2005/8/layout/hierarchy6"/>
    <dgm:cxn modelId="{5CF1FF74-EBF6-40C1-8020-C9E856826609}" type="presParOf" srcId="{F896589B-2BCC-4EDC-9679-1F7F4E2F6D2B}" destId="{9E4EF959-0D13-4799-89D5-265B930C06E4}" srcOrd="0" destOrd="0" presId="urn:microsoft.com/office/officeart/2005/8/layout/hierarchy6"/>
    <dgm:cxn modelId="{C3F60C84-A377-40FB-BBAC-1F12A4BC96C3}" type="presParOf" srcId="{D557394E-7961-4FBC-A881-DBAD724A2CC3}" destId="{2BC5561F-E6DD-488A-BAF4-0B3BFAFDDF34}" srcOrd="6" destOrd="0" presId="urn:microsoft.com/office/officeart/2005/8/layout/hierarchy6"/>
    <dgm:cxn modelId="{0CD8AC05-B45C-4A10-A304-A6FDF5149F3A}" type="presParOf" srcId="{2BC5561F-E6DD-488A-BAF4-0B3BFAFDDF34}" destId="{9E459289-AB61-4517-A727-FB974C19E5C4}" srcOrd="0" destOrd="0" presId="urn:microsoft.com/office/officeart/2005/8/layout/hierarchy6"/>
    <dgm:cxn modelId="{D9671CA4-7EB9-4845-957F-9E3F3B4E066A}" type="presParOf" srcId="{2BC5561F-E6DD-488A-BAF4-0B3BFAFDDF34}" destId="{7D807AEC-78F1-4670-90F1-4901A2DDC52F}" srcOrd="1" destOrd="0" presId="urn:microsoft.com/office/officeart/2005/8/layout/hierarchy6"/>
    <dgm:cxn modelId="{3CFB4843-77A4-48A2-AE59-D185664FA05F}" type="presParOf" srcId="{D557394E-7961-4FBC-A881-DBAD724A2CC3}" destId="{69824A2C-A651-4449-B2EA-C8E11152C64F}" srcOrd="7" destOrd="0" presId="urn:microsoft.com/office/officeart/2005/8/layout/hierarchy6"/>
    <dgm:cxn modelId="{865549BC-EF89-44AF-995B-44CD44D67620}" type="presParOf" srcId="{69824A2C-A651-4449-B2EA-C8E11152C64F}" destId="{EE6D5C9C-5186-473B-8479-78EB8369D264}" srcOrd="0" destOrd="0" presId="urn:microsoft.com/office/officeart/2005/8/layout/hierarchy6"/>
    <dgm:cxn modelId="{BB499A9D-828B-4C8A-A9CD-4B4DEB8B0D1F}" type="presParOf" srcId="{D557394E-7961-4FBC-A881-DBAD724A2CC3}" destId="{51EB94F1-2EAE-4D09-AC86-B6B2FC818557}" srcOrd="8" destOrd="0" presId="urn:microsoft.com/office/officeart/2005/8/layout/hierarchy6"/>
    <dgm:cxn modelId="{91BE5015-AA30-4F5A-B5FF-17861CC6F384}" type="presParOf" srcId="{51EB94F1-2EAE-4D09-AC86-B6B2FC818557}" destId="{48341131-BB10-4090-8A4B-F4D6443981B9}" srcOrd="0" destOrd="0" presId="urn:microsoft.com/office/officeart/2005/8/layout/hierarchy6"/>
    <dgm:cxn modelId="{7CA8D8D5-9F8A-4882-A674-95839B6C7B91}" type="presParOf" srcId="{51EB94F1-2EAE-4D09-AC86-B6B2FC818557}" destId="{932C60BB-7DDA-443D-9C1D-0E3E46C87C9C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1363EEE-AFDD-49D0-B212-8BFCFE98942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13B0A2CD-F5C8-441A-96A9-F2D4F21B3F25}">
      <dgm:prSet phldrT="[Text]" custT="1"/>
      <dgm:spPr/>
      <dgm:t>
        <a:bodyPr/>
        <a:lstStyle/>
        <a:p>
          <a:r>
            <a:rPr lang="da-DK" sz="1200" dirty="0" smtClean="0"/>
            <a:t>Implementeringshåndbog</a:t>
          </a:r>
          <a:endParaRPr lang="da-DK" sz="1200" dirty="0"/>
        </a:p>
      </dgm:t>
    </dgm:pt>
    <dgm:pt modelId="{0DC815CE-AA91-44B4-BF86-3878B87D14EA}" type="parTrans" cxnId="{946A9F29-DE26-47C0-94DD-6567D2B46E96}">
      <dgm:prSet/>
      <dgm:spPr/>
      <dgm:t>
        <a:bodyPr/>
        <a:lstStyle/>
        <a:p>
          <a:endParaRPr lang="da-DK"/>
        </a:p>
      </dgm:t>
    </dgm:pt>
    <dgm:pt modelId="{797BD4F9-CE08-4BA6-A5B6-B498AD811B56}" type="sibTrans" cxnId="{946A9F29-DE26-47C0-94DD-6567D2B46E96}">
      <dgm:prSet/>
      <dgm:spPr/>
      <dgm:t>
        <a:bodyPr/>
        <a:lstStyle/>
        <a:p>
          <a:endParaRPr lang="da-DK"/>
        </a:p>
      </dgm:t>
    </dgm:pt>
    <dgm:pt modelId="{A574EB46-82D9-4651-B7A2-708035A0F677}">
      <dgm:prSet phldrT="[Text]" custT="1"/>
      <dgm:spPr/>
      <dgm:t>
        <a:bodyPr/>
        <a:lstStyle/>
        <a:p>
          <a:r>
            <a:rPr lang="da-DK" sz="1000" dirty="0" smtClean="0"/>
            <a:t>Udarbejdelse af håndbog (Fælles ramme for hele projektet)</a:t>
          </a:r>
          <a:endParaRPr lang="da-DK" sz="1000" dirty="0"/>
        </a:p>
      </dgm:t>
    </dgm:pt>
    <dgm:pt modelId="{4818EDAA-8238-4882-9FFC-A5E3DF02E55D}" type="parTrans" cxnId="{521EE690-DC55-4525-B22F-C02BAE967E58}">
      <dgm:prSet/>
      <dgm:spPr/>
      <dgm:t>
        <a:bodyPr/>
        <a:lstStyle/>
        <a:p>
          <a:endParaRPr lang="da-DK"/>
        </a:p>
      </dgm:t>
    </dgm:pt>
    <dgm:pt modelId="{D2B62717-D84D-4CFD-8F9E-0DC69B7F9776}" type="sibTrans" cxnId="{521EE690-DC55-4525-B22F-C02BAE967E58}">
      <dgm:prSet/>
      <dgm:spPr/>
      <dgm:t>
        <a:bodyPr/>
        <a:lstStyle/>
        <a:p>
          <a:endParaRPr lang="da-DK"/>
        </a:p>
      </dgm:t>
    </dgm:pt>
    <dgm:pt modelId="{8BACC2DE-A5DB-4F66-B066-275B40C1C5DD}">
      <dgm:prSet phldrT="[Text]" custT="1"/>
      <dgm:spPr/>
      <dgm:t>
        <a:bodyPr/>
        <a:lstStyle/>
        <a:p>
          <a:r>
            <a:rPr lang="da-DK" sz="1000" dirty="0" smtClean="0"/>
            <a:t>Hjælp til detaljering fra </a:t>
          </a:r>
          <a:r>
            <a:rPr lang="da-DK" sz="1000" dirty="0" err="1" smtClean="0"/>
            <a:t>KOMBITs</a:t>
          </a:r>
          <a:r>
            <a:rPr lang="da-DK" sz="1000" dirty="0" smtClean="0"/>
            <a:t> implementeringskonsulent</a:t>
          </a:r>
          <a:endParaRPr lang="da-DK" sz="1000" dirty="0"/>
        </a:p>
      </dgm:t>
    </dgm:pt>
    <dgm:pt modelId="{97C51FD0-8312-4B6A-902E-0457078292EE}" type="parTrans" cxnId="{C0506A74-78C4-4DDD-947A-907AA197F40F}">
      <dgm:prSet/>
      <dgm:spPr/>
      <dgm:t>
        <a:bodyPr/>
        <a:lstStyle/>
        <a:p>
          <a:endParaRPr lang="da-DK"/>
        </a:p>
      </dgm:t>
    </dgm:pt>
    <dgm:pt modelId="{BD97D519-8609-4607-8969-788EEC681369}" type="sibTrans" cxnId="{C0506A74-78C4-4DDD-947A-907AA197F40F}">
      <dgm:prSet/>
      <dgm:spPr/>
      <dgm:t>
        <a:bodyPr/>
        <a:lstStyle/>
        <a:p>
          <a:endParaRPr lang="da-DK"/>
        </a:p>
      </dgm:t>
    </dgm:pt>
    <dgm:pt modelId="{DD718BA8-00FF-4793-9EF6-8613689D222C}">
      <dgm:prSet phldrT="[Text]"/>
      <dgm:spPr/>
      <dgm:t>
        <a:bodyPr/>
        <a:lstStyle/>
        <a:p>
          <a:r>
            <a:rPr lang="da-DK" dirty="0" smtClean="0"/>
            <a:t>Test</a:t>
          </a:r>
          <a:endParaRPr lang="da-DK" dirty="0"/>
        </a:p>
      </dgm:t>
    </dgm:pt>
    <dgm:pt modelId="{6A759543-DC54-41BF-BDB3-029FA6BA3D7E}" type="parTrans" cxnId="{6E811842-A978-400C-A0E2-47E36A5899BF}">
      <dgm:prSet/>
      <dgm:spPr/>
      <dgm:t>
        <a:bodyPr/>
        <a:lstStyle/>
        <a:p>
          <a:endParaRPr lang="da-DK"/>
        </a:p>
      </dgm:t>
    </dgm:pt>
    <dgm:pt modelId="{48CEC920-06F7-4B64-A8EA-F05BD9347B5D}" type="sibTrans" cxnId="{6E811842-A978-400C-A0E2-47E36A5899BF}">
      <dgm:prSet/>
      <dgm:spPr/>
      <dgm:t>
        <a:bodyPr/>
        <a:lstStyle/>
        <a:p>
          <a:endParaRPr lang="da-DK"/>
        </a:p>
      </dgm:t>
    </dgm:pt>
    <dgm:pt modelId="{485B1C56-C221-4E82-BED0-E47CAF741532}">
      <dgm:prSet phldrT="[Text]" custT="1"/>
      <dgm:spPr/>
      <dgm:t>
        <a:bodyPr/>
        <a:lstStyle/>
        <a:p>
          <a:r>
            <a:rPr lang="da-DK" sz="1000" dirty="0" smtClean="0"/>
            <a:t>Test af konverterede data (egne data i kommunen – selve testen udføres hovedsageligt af superbrugerne)</a:t>
          </a:r>
          <a:endParaRPr lang="da-DK" sz="1000" dirty="0"/>
        </a:p>
      </dgm:t>
    </dgm:pt>
    <dgm:pt modelId="{10BE9F41-023E-4A99-AF07-8DDC88601923}" type="parTrans" cxnId="{743D35DF-BA8A-4EB1-908E-8426BFDA2945}">
      <dgm:prSet/>
      <dgm:spPr/>
      <dgm:t>
        <a:bodyPr/>
        <a:lstStyle/>
        <a:p>
          <a:endParaRPr lang="da-DK"/>
        </a:p>
      </dgm:t>
    </dgm:pt>
    <dgm:pt modelId="{060B2A8E-0BD1-4D04-B57D-64F521CD4EE6}" type="sibTrans" cxnId="{743D35DF-BA8A-4EB1-908E-8426BFDA2945}">
      <dgm:prSet/>
      <dgm:spPr/>
      <dgm:t>
        <a:bodyPr/>
        <a:lstStyle/>
        <a:p>
          <a:endParaRPr lang="da-DK"/>
        </a:p>
      </dgm:t>
    </dgm:pt>
    <dgm:pt modelId="{663A6D7C-7A58-40BB-9FCC-5D2E8E1C6DB0}">
      <dgm:prSet phldrT="[Text]"/>
      <dgm:spPr/>
      <dgm:t>
        <a:bodyPr/>
        <a:lstStyle/>
        <a:p>
          <a:r>
            <a:rPr lang="da-DK" dirty="0" smtClean="0"/>
            <a:t>Brugeroprettelse</a:t>
          </a:r>
          <a:endParaRPr lang="da-DK" dirty="0"/>
        </a:p>
      </dgm:t>
    </dgm:pt>
    <dgm:pt modelId="{2F36AAFB-B548-4F93-8F18-38A04D096073}" type="parTrans" cxnId="{1941FB73-D652-4386-B7A3-34AC82C9FE5E}">
      <dgm:prSet/>
      <dgm:spPr/>
      <dgm:t>
        <a:bodyPr/>
        <a:lstStyle/>
        <a:p>
          <a:endParaRPr lang="da-DK"/>
        </a:p>
      </dgm:t>
    </dgm:pt>
    <dgm:pt modelId="{8FF14070-D75F-4C84-8B8E-AABB3F3C5709}" type="sibTrans" cxnId="{1941FB73-D652-4386-B7A3-34AC82C9FE5E}">
      <dgm:prSet/>
      <dgm:spPr/>
      <dgm:t>
        <a:bodyPr/>
        <a:lstStyle/>
        <a:p>
          <a:endParaRPr lang="da-DK"/>
        </a:p>
      </dgm:t>
    </dgm:pt>
    <dgm:pt modelId="{C2D92135-4F3E-40FB-AB89-5A32441AFD2E}">
      <dgm:prSet phldrT="[Text]" custT="1"/>
      <dgm:spPr/>
      <dgm:t>
        <a:bodyPr/>
        <a:lstStyle/>
        <a:p>
          <a:r>
            <a:rPr lang="da-DK" sz="1000" dirty="0" smtClean="0"/>
            <a:t>Selve oprettelsen (og testen) udføres af superbrugerne</a:t>
          </a:r>
          <a:endParaRPr lang="da-DK" sz="1000" dirty="0"/>
        </a:p>
      </dgm:t>
    </dgm:pt>
    <dgm:pt modelId="{AD0D2BC0-6A6B-4DBA-9B9A-A09289417C3E}" type="parTrans" cxnId="{D377306A-053D-43AD-8E8C-FC3077C241EB}">
      <dgm:prSet/>
      <dgm:spPr/>
      <dgm:t>
        <a:bodyPr/>
        <a:lstStyle/>
        <a:p>
          <a:endParaRPr lang="da-DK"/>
        </a:p>
      </dgm:t>
    </dgm:pt>
    <dgm:pt modelId="{C0A43F9A-6F78-472D-8C35-D508B121DF5E}" type="sibTrans" cxnId="{D377306A-053D-43AD-8E8C-FC3077C241EB}">
      <dgm:prSet/>
      <dgm:spPr/>
      <dgm:t>
        <a:bodyPr/>
        <a:lstStyle/>
        <a:p>
          <a:endParaRPr lang="da-DK"/>
        </a:p>
      </dgm:t>
    </dgm:pt>
    <dgm:pt modelId="{15F6A457-7892-4E64-8C55-8AF8417B69EB}">
      <dgm:prSet phldrT="[Text]"/>
      <dgm:spPr/>
      <dgm:t>
        <a:bodyPr/>
        <a:lstStyle/>
        <a:p>
          <a:r>
            <a:rPr lang="da-DK" dirty="0" smtClean="0"/>
            <a:t>Uddannelse</a:t>
          </a:r>
          <a:endParaRPr lang="da-DK" dirty="0"/>
        </a:p>
      </dgm:t>
    </dgm:pt>
    <dgm:pt modelId="{DA5AF8A1-4C96-4758-AFE1-B520F87CC5F6}" type="parTrans" cxnId="{449935DC-B609-413C-8C5A-A2F3F981D351}">
      <dgm:prSet/>
      <dgm:spPr/>
      <dgm:t>
        <a:bodyPr/>
        <a:lstStyle/>
        <a:p>
          <a:endParaRPr lang="da-DK"/>
        </a:p>
      </dgm:t>
    </dgm:pt>
    <dgm:pt modelId="{A69C5731-9F48-4E53-A820-3C4671B5380C}" type="sibTrans" cxnId="{449935DC-B609-413C-8C5A-A2F3F981D351}">
      <dgm:prSet/>
      <dgm:spPr/>
      <dgm:t>
        <a:bodyPr/>
        <a:lstStyle/>
        <a:p>
          <a:endParaRPr lang="da-DK"/>
        </a:p>
      </dgm:t>
    </dgm:pt>
    <dgm:pt modelId="{4B487504-7956-4692-908D-9D715B3083F1}">
      <dgm:prSet phldrT="[Text]"/>
      <dgm:spPr/>
      <dgm:t>
        <a:bodyPr/>
        <a:lstStyle/>
        <a:p>
          <a:r>
            <a:rPr lang="da-DK" dirty="0" smtClean="0"/>
            <a:t>Tekniske opgaver</a:t>
          </a:r>
          <a:endParaRPr lang="da-DK" dirty="0"/>
        </a:p>
      </dgm:t>
    </dgm:pt>
    <dgm:pt modelId="{3E4DF169-8D8F-49A3-AF54-B2763604B576}" type="parTrans" cxnId="{C6C7BBDE-C317-478B-84CA-C7CC981D323D}">
      <dgm:prSet/>
      <dgm:spPr/>
      <dgm:t>
        <a:bodyPr/>
        <a:lstStyle/>
        <a:p>
          <a:endParaRPr lang="da-DK"/>
        </a:p>
      </dgm:t>
    </dgm:pt>
    <dgm:pt modelId="{82E43D9C-DA39-4717-A012-EDF4E585D79E}" type="sibTrans" cxnId="{C6C7BBDE-C317-478B-84CA-C7CC981D323D}">
      <dgm:prSet/>
      <dgm:spPr/>
      <dgm:t>
        <a:bodyPr/>
        <a:lstStyle/>
        <a:p>
          <a:endParaRPr lang="da-DK"/>
        </a:p>
      </dgm:t>
    </dgm:pt>
    <dgm:pt modelId="{C6AC4001-21DA-4D6D-B1B6-C8BD5ABAFF71}">
      <dgm:prSet phldrT="[Text]"/>
      <dgm:spPr/>
      <dgm:t>
        <a:bodyPr/>
        <a:lstStyle/>
        <a:p>
          <a:r>
            <a:rPr lang="da-DK" dirty="0" smtClean="0"/>
            <a:t>Koordinering</a:t>
          </a:r>
          <a:endParaRPr lang="da-DK" dirty="0"/>
        </a:p>
      </dgm:t>
    </dgm:pt>
    <dgm:pt modelId="{7F8040F8-53A3-4E9D-BB3F-DCFE8E4F93C8}" type="parTrans" cxnId="{DBF8B85A-EDE2-4B4F-8B00-5326F1775C89}">
      <dgm:prSet/>
      <dgm:spPr/>
      <dgm:t>
        <a:bodyPr/>
        <a:lstStyle/>
        <a:p>
          <a:endParaRPr lang="da-DK"/>
        </a:p>
      </dgm:t>
    </dgm:pt>
    <dgm:pt modelId="{5034E9E5-1398-47C4-A26D-4AA4E10EDF0E}" type="sibTrans" cxnId="{DBF8B85A-EDE2-4B4F-8B00-5326F1775C89}">
      <dgm:prSet/>
      <dgm:spPr/>
      <dgm:t>
        <a:bodyPr/>
        <a:lstStyle/>
        <a:p>
          <a:endParaRPr lang="da-DK"/>
        </a:p>
      </dgm:t>
    </dgm:pt>
    <dgm:pt modelId="{94ECC85D-7A81-450B-895B-090C4C64A7E9}">
      <dgm:prSet phldrT="[Text]"/>
      <dgm:spPr/>
      <dgm:t>
        <a:bodyPr/>
        <a:lstStyle/>
        <a:p>
          <a:r>
            <a:rPr lang="da-DK" dirty="0" smtClean="0"/>
            <a:t>Kommunikation</a:t>
          </a:r>
          <a:endParaRPr lang="da-DK" dirty="0"/>
        </a:p>
      </dgm:t>
    </dgm:pt>
    <dgm:pt modelId="{9B0F7200-87D7-4A4A-86BF-7DA47C2A8674}" type="parTrans" cxnId="{57FD7685-0CED-431C-BA2C-6126EAB22A9C}">
      <dgm:prSet/>
      <dgm:spPr/>
      <dgm:t>
        <a:bodyPr/>
        <a:lstStyle/>
        <a:p>
          <a:endParaRPr lang="da-DK"/>
        </a:p>
      </dgm:t>
    </dgm:pt>
    <dgm:pt modelId="{41AB9B0D-0028-45FE-8F58-A49821406317}" type="sibTrans" cxnId="{57FD7685-0CED-431C-BA2C-6126EAB22A9C}">
      <dgm:prSet/>
      <dgm:spPr/>
      <dgm:t>
        <a:bodyPr/>
        <a:lstStyle/>
        <a:p>
          <a:endParaRPr lang="da-DK"/>
        </a:p>
      </dgm:t>
    </dgm:pt>
    <dgm:pt modelId="{0B32ADB8-D0D5-4AA3-9ED4-38DB187AEF0D}">
      <dgm:prSet phldrT="[Text]" custT="1"/>
      <dgm:spPr/>
      <dgm:t>
        <a:bodyPr/>
        <a:lstStyle/>
        <a:p>
          <a:r>
            <a:rPr lang="da-DK" sz="1000" dirty="0" smtClean="0"/>
            <a:t>Beslutning om uddannelsesniveau ud over superbrugere og uddannelse ved hjælp af e-</a:t>
          </a:r>
          <a:r>
            <a:rPr lang="da-DK" sz="1000" dirty="0" err="1" smtClean="0"/>
            <a:t>learning</a:t>
          </a:r>
          <a:endParaRPr lang="da-DK" sz="1000" dirty="0"/>
        </a:p>
      </dgm:t>
    </dgm:pt>
    <dgm:pt modelId="{C04026C9-1987-4CF0-A53E-117A5B8B2462}" type="parTrans" cxnId="{AA9D4200-FFC3-491F-B69B-813912132C0D}">
      <dgm:prSet/>
      <dgm:spPr/>
      <dgm:t>
        <a:bodyPr/>
        <a:lstStyle/>
        <a:p>
          <a:endParaRPr lang="da-DK"/>
        </a:p>
      </dgm:t>
    </dgm:pt>
    <dgm:pt modelId="{628E5DDC-F158-4EE9-81C5-12E4049A54DD}" type="sibTrans" cxnId="{AA9D4200-FFC3-491F-B69B-813912132C0D}">
      <dgm:prSet/>
      <dgm:spPr/>
      <dgm:t>
        <a:bodyPr/>
        <a:lstStyle/>
        <a:p>
          <a:endParaRPr lang="da-DK"/>
        </a:p>
      </dgm:t>
    </dgm:pt>
    <dgm:pt modelId="{390C33E3-0455-43B6-A2C1-BBA81160A893}">
      <dgm:prSet phldrT="[Text]" custT="1"/>
      <dgm:spPr/>
      <dgm:t>
        <a:bodyPr/>
        <a:lstStyle/>
        <a:p>
          <a:r>
            <a:rPr lang="da-DK" sz="1000" dirty="0" smtClean="0"/>
            <a:t>Opkobling af printere – it (evt. superbrugere)</a:t>
          </a:r>
          <a:endParaRPr lang="da-DK" sz="1000" dirty="0"/>
        </a:p>
      </dgm:t>
    </dgm:pt>
    <dgm:pt modelId="{7CB42C59-CBAB-419F-9387-1BB89492EFF4}" type="parTrans" cxnId="{52274290-CF8E-442B-A684-58EE469C11F5}">
      <dgm:prSet/>
      <dgm:spPr/>
      <dgm:t>
        <a:bodyPr/>
        <a:lstStyle/>
        <a:p>
          <a:endParaRPr lang="da-DK"/>
        </a:p>
      </dgm:t>
    </dgm:pt>
    <dgm:pt modelId="{B5C60FBE-6EAD-4A4A-AF5B-63C72B74C078}" type="sibTrans" cxnId="{52274290-CF8E-442B-A684-58EE469C11F5}">
      <dgm:prSet/>
      <dgm:spPr/>
      <dgm:t>
        <a:bodyPr/>
        <a:lstStyle/>
        <a:p>
          <a:endParaRPr lang="da-DK"/>
        </a:p>
      </dgm:t>
    </dgm:pt>
    <dgm:pt modelId="{388979EE-4670-4593-9118-40675AD9E047}">
      <dgm:prSet phldrT="[Text]" custT="1"/>
      <dgm:spPr/>
      <dgm:t>
        <a:bodyPr/>
        <a:lstStyle/>
        <a:p>
          <a:r>
            <a:rPr lang="da-DK" sz="1000" dirty="0" smtClean="0"/>
            <a:t>Koordinering med leverandør/</a:t>
          </a:r>
          <a:r>
            <a:rPr lang="da-DK" sz="1000" dirty="0" err="1" smtClean="0"/>
            <a:t>Kombit</a:t>
          </a:r>
          <a:r>
            <a:rPr lang="da-DK" sz="1000" dirty="0" smtClean="0"/>
            <a:t>/regional implementeringsansvarlig/egen kommune</a:t>
          </a:r>
          <a:endParaRPr lang="da-DK" sz="1000" dirty="0"/>
        </a:p>
      </dgm:t>
    </dgm:pt>
    <dgm:pt modelId="{70022686-6912-4E83-8409-2132BAA630A4}" type="parTrans" cxnId="{EF466F73-DF96-457B-B1B7-B87F67E84D87}">
      <dgm:prSet/>
      <dgm:spPr/>
      <dgm:t>
        <a:bodyPr/>
        <a:lstStyle/>
        <a:p>
          <a:endParaRPr lang="da-DK"/>
        </a:p>
      </dgm:t>
    </dgm:pt>
    <dgm:pt modelId="{219509E9-2150-4800-B4BC-7F2B668847D6}" type="sibTrans" cxnId="{EF466F73-DF96-457B-B1B7-B87F67E84D87}">
      <dgm:prSet/>
      <dgm:spPr/>
      <dgm:t>
        <a:bodyPr/>
        <a:lstStyle/>
        <a:p>
          <a:endParaRPr lang="da-DK"/>
        </a:p>
      </dgm:t>
    </dgm:pt>
    <dgm:pt modelId="{8FD44C01-D8E1-422F-BDAA-177E55DB1C37}">
      <dgm:prSet phldrT="[Text]" custT="1"/>
      <dgm:spPr/>
      <dgm:t>
        <a:bodyPr/>
        <a:lstStyle/>
        <a:p>
          <a:r>
            <a:rPr lang="da-DK" sz="1000" dirty="0" smtClean="0"/>
            <a:t>Hovedsageligt kommunikation til egen organisation - både til brugere og ledelse</a:t>
          </a:r>
          <a:endParaRPr lang="da-DK" sz="1000" dirty="0"/>
        </a:p>
      </dgm:t>
    </dgm:pt>
    <dgm:pt modelId="{47CDDA1F-3A4C-41A1-A225-4EED6B636171}" type="parTrans" cxnId="{75052245-A9E2-4804-ADB2-EDE8E5C84D64}">
      <dgm:prSet/>
      <dgm:spPr/>
      <dgm:t>
        <a:bodyPr/>
        <a:lstStyle/>
        <a:p>
          <a:endParaRPr lang="da-DK"/>
        </a:p>
      </dgm:t>
    </dgm:pt>
    <dgm:pt modelId="{DB51AA07-A55A-4B23-A25C-EE47F13D48A8}" type="sibTrans" cxnId="{75052245-A9E2-4804-ADB2-EDE8E5C84D64}">
      <dgm:prSet/>
      <dgm:spPr/>
      <dgm:t>
        <a:bodyPr/>
        <a:lstStyle/>
        <a:p>
          <a:endParaRPr lang="da-DK"/>
        </a:p>
      </dgm:t>
    </dgm:pt>
    <dgm:pt modelId="{C6E6656D-75D5-44FA-8FA7-E24FBA4A1E51}">
      <dgm:prSet custT="1"/>
      <dgm:spPr/>
      <dgm:t>
        <a:bodyPr/>
        <a:lstStyle/>
        <a:p>
          <a:r>
            <a:rPr lang="da-DK" sz="1000" dirty="0" smtClean="0"/>
            <a:t>Test af adgange, bruger set up, opsætning af specifikke kommunale parametre og printeradgange (hovedsageligt udført af superbrugere og it)</a:t>
          </a:r>
        </a:p>
      </dgm:t>
    </dgm:pt>
    <dgm:pt modelId="{7864AA77-AC88-44DF-B5D3-66CA87F0802C}" type="parTrans" cxnId="{4B67CC4F-0557-4F8A-B937-454B30598713}">
      <dgm:prSet/>
      <dgm:spPr/>
      <dgm:t>
        <a:bodyPr/>
        <a:lstStyle/>
        <a:p>
          <a:endParaRPr lang="da-DK"/>
        </a:p>
      </dgm:t>
    </dgm:pt>
    <dgm:pt modelId="{1B3F74C3-D65C-4A00-8BE8-8DE84D18F404}" type="sibTrans" cxnId="{4B67CC4F-0557-4F8A-B937-454B30598713}">
      <dgm:prSet/>
      <dgm:spPr/>
      <dgm:t>
        <a:bodyPr/>
        <a:lstStyle/>
        <a:p>
          <a:endParaRPr lang="da-DK"/>
        </a:p>
      </dgm:t>
    </dgm:pt>
    <dgm:pt modelId="{7E58538C-A371-4D7E-8668-1CF2E341210F}">
      <dgm:prSet custT="1"/>
      <dgm:spPr/>
      <dgm:t>
        <a:bodyPr/>
        <a:lstStyle/>
        <a:p>
          <a:r>
            <a:rPr lang="da-DK" sz="1000" dirty="0" smtClean="0"/>
            <a:t>Evt. organisering af etablering af uddannelsesmateriale</a:t>
          </a:r>
        </a:p>
      </dgm:t>
    </dgm:pt>
    <dgm:pt modelId="{DD44A66A-3E43-49A6-8F03-85354CC1BE6E}" type="parTrans" cxnId="{385829CD-C18B-4208-91BE-47A8D237BCD9}">
      <dgm:prSet/>
      <dgm:spPr/>
      <dgm:t>
        <a:bodyPr/>
        <a:lstStyle/>
        <a:p>
          <a:endParaRPr lang="da-DK"/>
        </a:p>
      </dgm:t>
    </dgm:pt>
    <dgm:pt modelId="{7869FC98-3F4C-4C9A-8956-C8347198F44D}" type="sibTrans" cxnId="{385829CD-C18B-4208-91BE-47A8D237BCD9}">
      <dgm:prSet/>
      <dgm:spPr/>
      <dgm:t>
        <a:bodyPr/>
        <a:lstStyle/>
        <a:p>
          <a:endParaRPr lang="da-DK"/>
        </a:p>
      </dgm:t>
    </dgm:pt>
    <dgm:pt modelId="{8099A304-6745-4182-B3DE-C78AD43876D9}">
      <dgm:prSet custT="1"/>
      <dgm:spPr/>
      <dgm:t>
        <a:bodyPr/>
        <a:lstStyle/>
        <a:p>
          <a:r>
            <a:rPr lang="da-DK" sz="1000" dirty="0" smtClean="0"/>
            <a:t>Organisering af selve uddannelsen</a:t>
          </a:r>
        </a:p>
      </dgm:t>
    </dgm:pt>
    <dgm:pt modelId="{233FC062-170E-417F-A9DB-31C5F2119209}" type="parTrans" cxnId="{934345CD-8AD1-4090-9AF0-4E5EF24AC2C4}">
      <dgm:prSet/>
      <dgm:spPr/>
      <dgm:t>
        <a:bodyPr/>
        <a:lstStyle/>
        <a:p>
          <a:endParaRPr lang="da-DK"/>
        </a:p>
      </dgm:t>
    </dgm:pt>
    <dgm:pt modelId="{86F796EB-F306-4FA0-843A-1D362E5065B5}" type="sibTrans" cxnId="{934345CD-8AD1-4090-9AF0-4E5EF24AC2C4}">
      <dgm:prSet/>
      <dgm:spPr/>
      <dgm:t>
        <a:bodyPr/>
        <a:lstStyle/>
        <a:p>
          <a:endParaRPr lang="da-DK"/>
        </a:p>
      </dgm:t>
    </dgm:pt>
    <dgm:pt modelId="{46BC89E6-70FA-4565-9C14-0F84ADBBEACC}" type="pres">
      <dgm:prSet presAssocID="{F1363EEE-AFDD-49D0-B212-8BFCFE98942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A6383813-50AA-4004-97B2-B24F95E34828}" type="pres">
      <dgm:prSet presAssocID="{13B0A2CD-F5C8-441A-96A9-F2D4F21B3F25}" presName="linNode" presStyleCnt="0"/>
      <dgm:spPr/>
    </dgm:pt>
    <dgm:pt modelId="{05DB8DC9-A153-4E89-B6F4-D15C2040CC8D}" type="pres">
      <dgm:prSet presAssocID="{13B0A2CD-F5C8-441A-96A9-F2D4F21B3F25}" presName="parentText" presStyleLbl="node1" presStyleIdx="0" presStyleCnt="7" custScaleX="68651" custLinFactNeighborX="-8817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2E99AB6-4294-4716-A71C-B9B5850ED2C0}" type="pres">
      <dgm:prSet presAssocID="{13B0A2CD-F5C8-441A-96A9-F2D4F21B3F25}" presName="descendantText" presStyleLbl="alignAccFollowNode1" presStyleIdx="0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C343990-AA4D-4BF6-B32F-75919FE613FA}" type="pres">
      <dgm:prSet presAssocID="{797BD4F9-CE08-4BA6-A5B6-B498AD811B56}" presName="sp" presStyleCnt="0"/>
      <dgm:spPr/>
    </dgm:pt>
    <dgm:pt modelId="{171B1C55-3F04-4A23-AE41-4DC5096B6624}" type="pres">
      <dgm:prSet presAssocID="{DD718BA8-00FF-4793-9EF6-8613689D222C}" presName="linNode" presStyleCnt="0"/>
      <dgm:spPr/>
    </dgm:pt>
    <dgm:pt modelId="{22885F2D-89EC-47FF-AFFC-78D0E072461E}" type="pres">
      <dgm:prSet presAssocID="{DD718BA8-00FF-4793-9EF6-8613689D222C}" presName="parentText" presStyleLbl="node1" presStyleIdx="1" presStyleCnt="7" custScaleX="68651" custLinFactNeighborX="-8817" custLinFactNeighborY="-1059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47AD8111-2610-4E0C-8A2E-E564588FA76C}" type="pres">
      <dgm:prSet presAssocID="{DD718BA8-00FF-4793-9EF6-8613689D222C}" presName="descendantText" presStyleLbl="alignAccFollowNode1" presStyleIdx="1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F2565E8-FCCF-4F03-B5B8-91B8948E63C7}" type="pres">
      <dgm:prSet presAssocID="{48CEC920-06F7-4B64-A8EA-F05BD9347B5D}" presName="sp" presStyleCnt="0"/>
      <dgm:spPr/>
    </dgm:pt>
    <dgm:pt modelId="{2C35A411-08D1-4286-90CA-41A7A8B1B48D}" type="pres">
      <dgm:prSet presAssocID="{663A6D7C-7A58-40BB-9FCC-5D2E8E1C6DB0}" presName="linNode" presStyleCnt="0"/>
      <dgm:spPr/>
    </dgm:pt>
    <dgm:pt modelId="{07E44FA7-5C0A-45FA-B12D-35783A135473}" type="pres">
      <dgm:prSet presAssocID="{663A6D7C-7A58-40BB-9FCC-5D2E8E1C6DB0}" presName="parentText" presStyleLbl="node1" presStyleIdx="2" presStyleCnt="7" custScaleX="68651" custLinFactNeighborX="-8817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CB8C039-8CFC-4960-8675-4E321C48C5A3}" type="pres">
      <dgm:prSet presAssocID="{663A6D7C-7A58-40BB-9FCC-5D2E8E1C6DB0}" presName="descendantText" presStyleLbl="alignAccFollowNode1" presStyleIdx="2" presStyleCnt="7" custScaleX="117749" custLinFactNeighborX="2540" custLinFactNeighborY="691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449020F-9155-4A0A-B24A-FA8B8F757B28}" type="pres">
      <dgm:prSet presAssocID="{8FF14070-D75F-4C84-8B8E-AABB3F3C5709}" presName="sp" presStyleCnt="0"/>
      <dgm:spPr/>
    </dgm:pt>
    <dgm:pt modelId="{D0DB0F2E-F50D-424B-A8D6-354F8CFCF988}" type="pres">
      <dgm:prSet presAssocID="{15F6A457-7892-4E64-8C55-8AF8417B69EB}" presName="linNode" presStyleCnt="0"/>
      <dgm:spPr/>
    </dgm:pt>
    <dgm:pt modelId="{E8082F9F-7452-4163-A4E3-4BA86AF72FFE}" type="pres">
      <dgm:prSet presAssocID="{15F6A457-7892-4E64-8C55-8AF8417B69EB}" presName="parentText" presStyleLbl="node1" presStyleIdx="3" presStyleCnt="7" custScaleX="68651" custLinFactNeighborX="-15673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E45093A6-7EDF-43A9-8290-3A52EFC521FF}" type="pres">
      <dgm:prSet presAssocID="{15F6A457-7892-4E64-8C55-8AF8417B69EB}" presName="descendantText" presStyleLbl="alignAccFollowNode1" presStyleIdx="3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7768A-A9BF-4051-AC39-5EDA536B4AF3}" type="pres">
      <dgm:prSet presAssocID="{A69C5731-9F48-4E53-A820-3C4671B5380C}" presName="sp" presStyleCnt="0"/>
      <dgm:spPr/>
    </dgm:pt>
    <dgm:pt modelId="{2FC26458-13B2-4D0D-A216-69EC5226D599}" type="pres">
      <dgm:prSet presAssocID="{4B487504-7956-4692-908D-9D715B3083F1}" presName="linNode" presStyleCnt="0"/>
      <dgm:spPr/>
    </dgm:pt>
    <dgm:pt modelId="{D1EF709B-EFDF-4D65-99B1-26F20DAD49F4}" type="pres">
      <dgm:prSet presAssocID="{4B487504-7956-4692-908D-9D715B3083F1}" presName="parentText" presStyleLbl="node1" presStyleIdx="4" presStyleCnt="7" custScaleX="68651" custLinFactNeighborX="-15673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02E2447E-9B86-48D7-99C5-7BCAF9CAB576}" type="pres">
      <dgm:prSet presAssocID="{4B487504-7956-4692-908D-9D715B3083F1}" presName="descendantText" presStyleLbl="alignAccFollowNode1" presStyleIdx="4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5156964D-0A97-498E-A67A-38C90A5D1D97}" type="pres">
      <dgm:prSet presAssocID="{82E43D9C-DA39-4717-A012-EDF4E585D79E}" presName="sp" presStyleCnt="0"/>
      <dgm:spPr/>
    </dgm:pt>
    <dgm:pt modelId="{C3F0D69F-6EA1-408E-8095-63FA9994200B}" type="pres">
      <dgm:prSet presAssocID="{C6AC4001-21DA-4D6D-B1B6-C8BD5ABAFF71}" presName="linNode" presStyleCnt="0"/>
      <dgm:spPr/>
    </dgm:pt>
    <dgm:pt modelId="{91997296-61AA-4A19-8039-2DFDCC033D0F}" type="pres">
      <dgm:prSet presAssocID="{C6AC4001-21DA-4D6D-B1B6-C8BD5ABAFF71}" presName="parentText" presStyleLbl="node1" presStyleIdx="5" presStyleCnt="7" custScaleX="68651" custLinFactNeighborX="-15673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E84695C7-123D-4F64-85B7-02C907EF9AE6}" type="pres">
      <dgm:prSet presAssocID="{C6AC4001-21DA-4D6D-B1B6-C8BD5ABAFF71}" presName="descendantText" presStyleLbl="alignAccFollowNode1" presStyleIdx="5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62B0F837-3A2E-49D5-A15F-130F047E492E}" type="pres">
      <dgm:prSet presAssocID="{5034E9E5-1398-47C4-A26D-4AA4E10EDF0E}" presName="sp" presStyleCnt="0"/>
      <dgm:spPr/>
    </dgm:pt>
    <dgm:pt modelId="{17EBBB7A-57CB-49E8-9116-D6A10781EA47}" type="pres">
      <dgm:prSet presAssocID="{94ECC85D-7A81-450B-895B-090C4C64A7E9}" presName="linNode" presStyleCnt="0"/>
      <dgm:spPr/>
    </dgm:pt>
    <dgm:pt modelId="{28C20883-B1E6-4452-8172-58D2017C4BDE}" type="pres">
      <dgm:prSet presAssocID="{94ECC85D-7A81-450B-895B-090C4C64A7E9}" presName="parentText" presStyleLbl="node1" presStyleIdx="6" presStyleCnt="7" custScaleX="68651" custLinFactNeighborX="-15673">
        <dgm:presLayoutVars>
          <dgm:chMax val="1"/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4886699-ED5F-4089-A46F-66D099EE68EA}" type="pres">
      <dgm:prSet presAssocID="{94ECC85D-7A81-450B-895B-090C4C64A7E9}" presName="descendantText" presStyleLbl="alignAccFollowNode1" presStyleIdx="6" presStyleCnt="7" custScaleX="117749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</dgm:ptLst>
  <dgm:cxnLst>
    <dgm:cxn modelId="{C6C7BBDE-C317-478B-84CA-C7CC981D323D}" srcId="{F1363EEE-AFDD-49D0-B212-8BFCFE989427}" destId="{4B487504-7956-4692-908D-9D715B3083F1}" srcOrd="4" destOrd="0" parTransId="{3E4DF169-8D8F-49A3-AF54-B2763604B576}" sibTransId="{82E43D9C-DA39-4717-A012-EDF4E585D79E}"/>
    <dgm:cxn modelId="{56A0C8A7-55B4-407B-A7FE-564B2E9DE0B4}" type="presOf" srcId="{0B32ADB8-D0D5-4AA3-9ED4-38DB187AEF0D}" destId="{E45093A6-7EDF-43A9-8290-3A52EFC521FF}" srcOrd="0" destOrd="0" presId="urn:microsoft.com/office/officeart/2005/8/layout/vList5"/>
    <dgm:cxn modelId="{B62FC10E-9982-4C9B-8A75-3DF53289D8EB}" type="presOf" srcId="{390C33E3-0455-43B6-A2C1-BBA81160A893}" destId="{02E2447E-9B86-48D7-99C5-7BCAF9CAB576}" srcOrd="0" destOrd="0" presId="urn:microsoft.com/office/officeart/2005/8/layout/vList5"/>
    <dgm:cxn modelId="{75052245-A9E2-4804-ADB2-EDE8E5C84D64}" srcId="{94ECC85D-7A81-450B-895B-090C4C64A7E9}" destId="{8FD44C01-D8E1-422F-BDAA-177E55DB1C37}" srcOrd="0" destOrd="0" parTransId="{47CDDA1F-3A4C-41A1-A225-4EED6B636171}" sibTransId="{DB51AA07-A55A-4B23-A25C-EE47F13D48A8}"/>
    <dgm:cxn modelId="{AA9D4200-FFC3-491F-B69B-813912132C0D}" srcId="{15F6A457-7892-4E64-8C55-8AF8417B69EB}" destId="{0B32ADB8-D0D5-4AA3-9ED4-38DB187AEF0D}" srcOrd="0" destOrd="0" parTransId="{C04026C9-1987-4CF0-A53E-117A5B8B2462}" sibTransId="{628E5DDC-F158-4EE9-81C5-12E4049A54DD}"/>
    <dgm:cxn modelId="{1AE1F0E7-EDE0-4C82-9D0F-277C62A48BFA}" type="presOf" srcId="{8BACC2DE-A5DB-4F66-B066-275B40C1C5DD}" destId="{52E99AB6-4294-4716-A71C-B9B5850ED2C0}" srcOrd="0" destOrd="1" presId="urn:microsoft.com/office/officeart/2005/8/layout/vList5"/>
    <dgm:cxn modelId="{02A24D40-426A-42EF-8E8D-C97C303C5C8C}" type="presOf" srcId="{4B487504-7956-4692-908D-9D715B3083F1}" destId="{D1EF709B-EFDF-4D65-99B1-26F20DAD49F4}" srcOrd="0" destOrd="0" presId="urn:microsoft.com/office/officeart/2005/8/layout/vList5"/>
    <dgm:cxn modelId="{50ED3134-5C8E-4AA9-8DE9-3D0F574CCBDE}" type="presOf" srcId="{DD718BA8-00FF-4793-9EF6-8613689D222C}" destId="{22885F2D-89EC-47FF-AFFC-78D0E072461E}" srcOrd="0" destOrd="0" presId="urn:microsoft.com/office/officeart/2005/8/layout/vList5"/>
    <dgm:cxn modelId="{D377306A-053D-43AD-8E8C-FC3077C241EB}" srcId="{663A6D7C-7A58-40BB-9FCC-5D2E8E1C6DB0}" destId="{C2D92135-4F3E-40FB-AB89-5A32441AFD2E}" srcOrd="0" destOrd="0" parTransId="{AD0D2BC0-6A6B-4DBA-9B9A-A09289417C3E}" sibTransId="{C0A43F9A-6F78-472D-8C35-D508B121DF5E}"/>
    <dgm:cxn modelId="{957BC69E-B6A3-460A-BE8B-DFF7EF5EDF66}" type="presOf" srcId="{C6E6656D-75D5-44FA-8FA7-E24FBA4A1E51}" destId="{47AD8111-2610-4E0C-8A2E-E564588FA76C}" srcOrd="0" destOrd="1" presId="urn:microsoft.com/office/officeart/2005/8/layout/vList5"/>
    <dgm:cxn modelId="{934345CD-8AD1-4090-9AF0-4E5EF24AC2C4}" srcId="{15F6A457-7892-4E64-8C55-8AF8417B69EB}" destId="{8099A304-6745-4182-B3DE-C78AD43876D9}" srcOrd="2" destOrd="0" parTransId="{233FC062-170E-417F-A9DB-31C5F2119209}" sibTransId="{86F796EB-F306-4FA0-843A-1D362E5065B5}"/>
    <dgm:cxn modelId="{1BDAC2B5-9889-49B8-8A2E-D452BE65AC5C}" type="presOf" srcId="{8FD44C01-D8E1-422F-BDAA-177E55DB1C37}" destId="{14886699-ED5F-4089-A46F-66D099EE68EA}" srcOrd="0" destOrd="0" presId="urn:microsoft.com/office/officeart/2005/8/layout/vList5"/>
    <dgm:cxn modelId="{259F983E-CE19-4FA5-A70B-278C391B33CD}" type="presOf" srcId="{663A6D7C-7A58-40BB-9FCC-5D2E8E1C6DB0}" destId="{07E44FA7-5C0A-45FA-B12D-35783A135473}" srcOrd="0" destOrd="0" presId="urn:microsoft.com/office/officeart/2005/8/layout/vList5"/>
    <dgm:cxn modelId="{BCBA2858-3D5B-4865-94EB-906D015131C3}" type="presOf" srcId="{485B1C56-C221-4E82-BED0-E47CAF741532}" destId="{47AD8111-2610-4E0C-8A2E-E564588FA76C}" srcOrd="0" destOrd="0" presId="urn:microsoft.com/office/officeart/2005/8/layout/vList5"/>
    <dgm:cxn modelId="{52274290-CF8E-442B-A684-58EE469C11F5}" srcId="{4B487504-7956-4692-908D-9D715B3083F1}" destId="{390C33E3-0455-43B6-A2C1-BBA81160A893}" srcOrd="0" destOrd="0" parTransId="{7CB42C59-CBAB-419F-9387-1BB89492EFF4}" sibTransId="{B5C60FBE-6EAD-4A4A-AF5B-63C72B74C078}"/>
    <dgm:cxn modelId="{1941FB73-D652-4386-B7A3-34AC82C9FE5E}" srcId="{F1363EEE-AFDD-49D0-B212-8BFCFE989427}" destId="{663A6D7C-7A58-40BB-9FCC-5D2E8E1C6DB0}" srcOrd="2" destOrd="0" parTransId="{2F36AAFB-B548-4F93-8F18-38A04D096073}" sibTransId="{8FF14070-D75F-4C84-8B8E-AABB3F3C5709}"/>
    <dgm:cxn modelId="{AB914F59-C5E5-4C42-969E-63B714A46A5D}" type="presOf" srcId="{13B0A2CD-F5C8-441A-96A9-F2D4F21B3F25}" destId="{05DB8DC9-A153-4E89-B6F4-D15C2040CC8D}" srcOrd="0" destOrd="0" presId="urn:microsoft.com/office/officeart/2005/8/layout/vList5"/>
    <dgm:cxn modelId="{89D36FE0-2AB6-4E96-8239-056CF355BC24}" type="presOf" srcId="{94ECC85D-7A81-450B-895B-090C4C64A7E9}" destId="{28C20883-B1E6-4452-8172-58D2017C4BDE}" srcOrd="0" destOrd="0" presId="urn:microsoft.com/office/officeart/2005/8/layout/vList5"/>
    <dgm:cxn modelId="{4B67CC4F-0557-4F8A-B937-454B30598713}" srcId="{DD718BA8-00FF-4793-9EF6-8613689D222C}" destId="{C6E6656D-75D5-44FA-8FA7-E24FBA4A1E51}" srcOrd="1" destOrd="0" parTransId="{7864AA77-AC88-44DF-B5D3-66CA87F0802C}" sibTransId="{1B3F74C3-D65C-4A00-8BE8-8DE84D18F404}"/>
    <dgm:cxn modelId="{4A1E7B4B-5645-4748-A670-7038CB6382F9}" type="presOf" srcId="{A574EB46-82D9-4651-B7A2-708035A0F677}" destId="{52E99AB6-4294-4716-A71C-B9B5850ED2C0}" srcOrd="0" destOrd="0" presId="urn:microsoft.com/office/officeart/2005/8/layout/vList5"/>
    <dgm:cxn modelId="{C0506A74-78C4-4DDD-947A-907AA197F40F}" srcId="{13B0A2CD-F5C8-441A-96A9-F2D4F21B3F25}" destId="{8BACC2DE-A5DB-4F66-B066-275B40C1C5DD}" srcOrd="1" destOrd="0" parTransId="{97C51FD0-8312-4B6A-902E-0457078292EE}" sibTransId="{BD97D519-8609-4607-8969-788EEC681369}"/>
    <dgm:cxn modelId="{8E29E5B3-BF50-4870-957C-B51EA3DA9B01}" type="presOf" srcId="{8099A304-6745-4182-B3DE-C78AD43876D9}" destId="{E45093A6-7EDF-43A9-8290-3A52EFC521FF}" srcOrd="0" destOrd="2" presId="urn:microsoft.com/office/officeart/2005/8/layout/vList5"/>
    <dgm:cxn modelId="{8E484BD5-D9B8-49B8-B275-23572CAC31C2}" type="presOf" srcId="{15F6A457-7892-4E64-8C55-8AF8417B69EB}" destId="{E8082F9F-7452-4163-A4E3-4BA86AF72FFE}" srcOrd="0" destOrd="0" presId="urn:microsoft.com/office/officeart/2005/8/layout/vList5"/>
    <dgm:cxn modelId="{6E811842-A978-400C-A0E2-47E36A5899BF}" srcId="{F1363EEE-AFDD-49D0-B212-8BFCFE989427}" destId="{DD718BA8-00FF-4793-9EF6-8613689D222C}" srcOrd="1" destOrd="0" parTransId="{6A759543-DC54-41BF-BDB3-029FA6BA3D7E}" sibTransId="{48CEC920-06F7-4B64-A8EA-F05BD9347B5D}"/>
    <dgm:cxn modelId="{2629ECFF-A78B-4655-9EB7-669751E29FDD}" type="presOf" srcId="{7E58538C-A371-4D7E-8668-1CF2E341210F}" destId="{E45093A6-7EDF-43A9-8290-3A52EFC521FF}" srcOrd="0" destOrd="1" presId="urn:microsoft.com/office/officeart/2005/8/layout/vList5"/>
    <dgm:cxn modelId="{CA0328F3-F9F5-4595-8B8E-35C598D21B02}" type="presOf" srcId="{388979EE-4670-4593-9118-40675AD9E047}" destId="{E84695C7-123D-4F64-85B7-02C907EF9AE6}" srcOrd="0" destOrd="0" presId="urn:microsoft.com/office/officeart/2005/8/layout/vList5"/>
    <dgm:cxn modelId="{449935DC-B609-413C-8C5A-A2F3F981D351}" srcId="{F1363EEE-AFDD-49D0-B212-8BFCFE989427}" destId="{15F6A457-7892-4E64-8C55-8AF8417B69EB}" srcOrd="3" destOrd="0" parTransId="{DA5AF8A1-4C96-4758-AFE1-B520F87CC5F6}" sibTransId="{A69C5731-9F48-4E53-A820-3C4671B5380C}"/>
    <dgm:cxn modelId="{385829CD-C18B-4208-91BE-47A8D237BCD9}" srcId="{15F6A457-7892-4E64-8C55-8AF8417B69EB}" destId="{7E58538C-A371-4D7E-8668-1CF2E341210F}" srcOrd="1" destOrd="0" parTransId="{DD44A66A-3E43-49A6-8F03-85354CC1BE6E}" sibTransId="{7869FC98-3F4C-4C9A-8956-C8347198F44D}"/>
    <dgm:cxn modelId="{EF466F73-DF96-457B-B1B7-B87F67E84D87}" srcId="{C6AC4001-21DA-4D6D-B1B6-C8BD5ABAFF71}" destId="{388979EE-4670-4593-9118-40675AD9E047}" srcOrd="0" destOrd="0" parTransId="{70022686-6912-4E83-8409-2132BAA630A4}" sibTransId="{219509E9-2150-4800-B4BC-7F2B668847D6}"/>
    <dgm:cxn modelId="{521EE690-DC55-4525-B22F-C02BAE967E58}" srcId="{13B0A2CD-F5C8-441A-96A9-F2D4F21B3F25}" destId="{A574EB46-82D9-4651-B7A2-708035A0F677}" srcOrd="0" destOrd="0" parTransId="{4818EDAA-8238-4882-9FFC-A5E3DF02E55D}" sibTransId="{D2B62717-D84D-4CFD-8F9E-0DC69B7F9776}"/>
    <dgm:cxn modelId="{22B3F8A9-FA59-4113-9CB3-1DA1A15DC84A}" type="presOf" srcId="{C2D92135-4F3E-40FB-AB89-5A32441AFD2E}" destId="{7CB8C039-8CFC-4960-8675-4E321C48C5A3}" srcOrd="0" destOrd="0" presId="urn:microsoft.com/office/officeart/2005/8/layout/vList5"/>
    <dgm:cxn modelId="{57FD7685-0CED-431C-BA2C-6126EAB22A9C}" srcId="{F1363EEE-AFDD-49D0-B212-8BFCFE989427}" destId="{94ECC85D-7A81-450B-895B-090C4C64A7E9}" srcOrd="6" destOrd="0" parTransId="{9B0F7200-87D7-4A4A-86BF-7DA47C2A8674}" sibTransId="{41AB9B0D-0028-45FE-8F58-A49821406317}"/>
    <dgm:cxn modelId="{743D35DF-BA8A-4EB1-908E-8426BFDA2945}" srcId="{DD718BA8-00FF-4793-9EF6-8613689D222C}" destId="{485B1C56-C221-4E82-BED0-E47CAF741532}" srcOrd="0" destOrd="0" parTransId="{10BE9F41-023E-4A99-AF07-8DDC88601923}" sibTransId="{060B2A8E-0BD1-4D04-B57D-64F521CD4EE6}"/>
    <dgm:cxn modelId="{947CAA76-6719-44F1-9684-1FCA5167CF15}" type="presOf" srcId="{F1363EEE-AFDD-49D0-B212-8BFCFE989427}" destId="{46BC89E6-70FA-4565-9C14-0F84ADBBEACC}" srcOrd="0" destOrd="0" presId="urn:microsoft.com/office/officeart/2005/8/layout/vList5"/>
    <dgm:cxn modelId="{DBF8B85A-EDE2-4B4F-8B00-5326F1775C89}" srcId="{F1363EEE-AFDD-49D0-B212-8BFCFE989427}" destId="{C6AC4001-21DA-4D6D-B1B6-C8BD5ABAFF71}" srcOrd="5" destOrd="0" parTransId="{7F8040F8-53A3-4E9D-BB3F-DCFE8E4F93C8}" sibTransId="{5034E9E5-1398-47C4-A26D-4AA4E10EDF0E}"/>
    <dgm:cxn modelId="{946A9F29-DE26-47C0-94DD-6567D2B46E96}" srcId="{F1363EEE-AFDD-49D0-B212-8BFCFE989427}" destId="{13B0A2CD-F5C8-441A-96A9-F2D4F21B3F25}" srcOrd="0" destOrd="0" parTransId="{0DC815CE-AA91-44B4-BF86-3878B87D14EA}" sibTransId="{797BD4F9-CE08-4BA6-A5B6-B498AD811B56}"/>
    <dgm:cxn modelId="{CF6DB9A0-B95B-4CDA-9786-DACB4DAE8FC0}" type="presOf" srcId="{C6AC4001-21DA-4D6D-B1B6-C8BD5ABAFF71}" destId="{91997296-61AA-4A19-8039-2DFDCC033D0F}" srcOrd="0" destOrd="0" presId="urn:microsoft.com/office/officeart/2005/8/layout/vList5"/>
    <dgm:cxn modelId="{A0F91415-15D2-49C6-B7A5-81CDA9C3AE23}" type="presParOf" srcId="{46BC89E6-70FA-4565-9C14-0F84ADBBEACC}" destId="{A6383813-50AA-4004-97B2-B24F95E34828}" srcOrd="0" destOrd="0" presId="urn:microsoft.com/office/officeart/2005/8/layout/vList5"/>
    <dgm:cxn modelId="{26C4AFEF-FEFB-472D-A109-3ECB2F6D28E4}" type="presParOf" srcId="{A6383813-50AA-4004-97B2-B24F95E34828}" destId="{05DB8DC9-A153-4E89-B6F4-D15C2040CC8D}" srcOrd="0" destOrd="0" presId="urn:microsoft.com/office/officeart/2005/8/layout/vList5"/>
    <dgm:cxn modelId="{23793C1D-8751-4B76-857C-79572FFB5389}" type="presParOf" srcId="{A6383813-50AA-4004-97B2-B24F95E34828}" destId="{52E99AB6-4294-4716-A71C-B9B5850ED2C0}" srcOrd="1" destOrd="0" presId="urn:microsoft.com/office/officeart/2005/8/layout/vList5"/>
    <dgm:cxn modelId="{2A640AAB-1BC9-4CB9-BDC9-3994F36EA13E}" type="presParOf" srcId="{46BC89E6-70FA-4565-9C14-0F84ADBBEACC}" destId="{0C343990-AA4D-4BF6-B32F-75919FE613FA}" srcOrd="1" destOrd="0" presId="urn:microsoft.com/office/officeart/2005/8/layout/vList5"/>
    <dgm:cxn modelId="{5FE7F8FB-3387-420C-9AEC-2A1433A4C894}" type="presParOf" srcId="{46BC89E6-70FA-4565-9C14-0F84ADBBEACC}" destId="{171B1C55-3F04-4A23-AE41-4DC5096B6624}" srcOrd="2" destOrd="0" presId="urn:microsoft.com/office/officeart/2005/8/layout/vList5"/>
    <dgm:cxn modelId="{FBC531CB-6375-48A8-8D4F-0FC1521A5B6B}" type="presParOf" srcId="{171B1C55-3F04-4A23-AE41-4DC5096B6624}" destId="{22885F2D-89EC-47FF-AFFC-78D0E072461E}" srcOrd="0" destOrd="0" presId="urn:microsoft.com/office/officeart/2005/8/layout/vList5"/>
    <dgm:cxn modelId="{B3A02197-0F6A-4319-923E-7BE6CF08C84B}" type="presParOf" srcId="{171B1C55-3F04-4A23-AE41-4DC5096B6624}" destId="{47AD8111-2610-4E0C-8A2E-E564588FA76C}" srcOrd="1" destOrd="0" presId="urn:microsoft.com/office/officeart/2005/8/layout/vList5"/>
    <dgm:cxn modelId="{1D4C5AB8-56D1-4BCF-8388-6DFB6A9BF01D}" type="presParOf" srcId="{46BC89E6-70FA-4565-9C14-0F84ADBBEACC}" destId="{0F2565E8-FCCF-4F03-B5B8-91B8948E63C7}" srcOrd="3" destOrd="0" presId="urn:microsoft.com/office/officeart/2005/8/layout/vList5"/>
    <dgm:cxn modelId="{90D5F37A-BF12-4CE5-B2D0-4C70729DFFA4}" type="presParOf" srcId="{46BC89E6-70FA-4565-9C14-0F84ADBBEACC}" destId="{2C35A411-08D1-4286-90CA-41A7A8B1B48D}" srcOrd="4" destOrd="0" presId="urn:microsoft.com/office/officeart/2005/8/layout/vList5"/>
    <dgm:cxn modelId="{F1B626C1-79ED-4E64-9E0F-AA7060AE1A22}" type="presParOf" srcId="{2C35A411-08D1-4286-90CA-41A7A8B1B48D}" destId="{07E44FA7-5C0A-45FA-B12D-35783A135473}" srcOrd="0" destOrd="0" presId="urn:microsoft.com/office/officeart/2005/8/layout/vList5"/>
    <dgm:cxn modelId="{ED2CC3F8-E238-47F6-B2F9-DE7D65203780}" type="presParOf" srcId="{2C35A411-08D1-4286-90CA-41A7A8B1B48D}" destId="{7CB8C039-8CFC-4960-8675-4E321C48C5A3}" srcOrd="1" destOrd="0" presId="urn:microsoft.com/office/officeart/2005/8/layout/vList5"/>
    <dgm:cxn modelId="{EC89582B-D728-42A4-9FAD-A96739CB3808}" type="presParOf" srcId="{46BC89E6-70FA-4565-9C14-0F84ADBBEACC}" destId="{7449020F-9155-4A0A-B24A-FA8B8F757B28}" srcOrd="5" destOrd="0" presId="urn:microsoft.com/office/officeart/2005/8/layout/vList5"/>
    <dgm:cxn modelId="{C86CC377-02E9-4E9A-99CD-6098940C6595}" type="presParOf" srcId="{46BC89E6-70FA-4565-9C14-0F84ADBBEACC}" destId="{D0DB0F2E-F50D-424B-A8D6-354F8CFCF988}" srcOrd="6" destOrd="0" presId="urn:microsoft.com/office/officeart/2005/8/layout/vList5"/>
    <dgm:cxn modelId="{2F763375-E5DC-44A6-9AB6-11669F83CC57}" type="presParOf" srcId="{D0DB0F2E-F50D-424B-A8D6-354F8CFCF988}" destId="{E8082F9F-7452-4163-A4E3-4BA86AF72FFE}" srcOrd="0" destOrd="0" presId="urn:microsoft.com/office/officeart/2005/8/layout/vList5"/>
    <dgm:cxn modelId="{08C2BD5C-E36D-4F4F-8F16-E9DE6FC7636D}" type="presParOf" srcId="{D0DB0F2E-F50D-424B-A8D6-354F8CFCF988}" destId="{E45093A6-7EDF-43A9-8290-3A52EFC521FF}" srcOrd="1" destOrd="0" presId="urn:microsoft.com/office/officeart/2005/8/layout/vList5"/>
    <dgm:cxn modelId="{17AC69AC-0D4D-4DA9-A51C-1C625A2501BE}" type="presParOf" srcId="{46BC89E6-70FA-4565-9C14-0F84ADBBEACC}" destId="{B407768A-A9BF-4051-AC39-5EDA536B4AF3}" srcOrd="7" destOrd="0" presId="urn:microsoft.com/office/officeart/2005/8/layout/vList5"/>
    <dgm:cxn modelId="{C3D72978-093E-4FD1-8FF2-AF8C0CC0CECE}" type="presParOf" srcId="{46BC89E6-70FA-4565-9C14-0F84ADBBEACC}" destId="{2FC26458-13B2-4D0D-A216-69EC5226D599}" srcOrd="8" destOrd="0" presId="urn:microsoft.com/office/officeart/2005/8/layout/vList5"/>
    <dgm:cxn modelId="{5FBD537C-8150-427A-A7C0-D004A0F74830}" type="presParOf" srcId="{2FC26458-13B2-4D0D-A216-69EC5226D599}" destId="{D1EF709B-EFDF-4D65-99B1-26F20DAD49F4}" srcOrd="0" destOrd="0" presId="urn:microsoft.com/office/officeart/2005/8/layout/vList5"/>
    <dgm:cxn modelId="{FDABC8EB-C50E-442B-9A87-23D211282F36}" type="presParOf" srcId="{2FC26458-13B2-4D0D-A216-69EC5226D599}" destId="{02E2447E-9B86-48D7-99C5-7BCAF9CAB576}" srcOrd="1" destOrd="0" presId="urn:microsoft.com/office/officeart/2005/8/layout/vList5"/>
    <dgm:cxn modelId="{CC0D3CC4-5B88-43BE-95FC-883BEAB083C4}" type="presParOf" srcId="{46BC89E6-70FA-4565-9C14-0F84ADBBEACC}" destId="{5156964D-0A97-498E-A67A-38C90A5D1D97}" srcOrd="9" destOrd="0" presId="urn:microsoft.com/office/officeart/2005/8/layout/vList5"/>
    <dgm:cxn modelId="{6472E85E-0668-4CB7-88E4-B40718AB46AB}" type="presParOf" srcId="{46BC89E6-70FA-4565-9C14-0F84ADBBEACC}" destId="{C3F0D69F-6EA1-408E-8095-63FA9994200B}" srcOrd="10" destOrd="0" presId="urn:microsoft.com/office/officeart/2005/8/layout/vList5"/>
    <dgm:cxn modelId="{2ECEFF8F-D066-4AA6-ABDC-F07131419447}" type="presParOf" srcId="{C3F0D69F-6EA1-408E-8095-63FA9994200B}" destId="{91997296-61AA-4A19-8039-2DFDCC033D0F}" srcOrd="0" destOrd="0" presId="urn:microsoft.com/office/officeart/2005/8/layout/vList5"/>
    <dgm:cxn modelId="{3A09DC71-D077-401D-A7DB-668ABED217E5}" type="presParOf" srcId="{C3F0D69F-6EA1-408E-8095-63FA9994200B}" destId="{E84695C7-123D-4F64-85B7-02C907EF9AE6}" srcOrd="1" destOrd="0" presId="urn:microsoft.com/office/officeart/2005/8/layout/vList5"/>
    <dgm:cxn modelId="{3868EB5A-77BE-498E-956D-98658D5E5007}" type="presParOf" srcId="{46BC89E6-70FA-4565-9C14-0F84ADBBEACC}" destId="{62B0F837-3A2E-49D5-A15F-130F047E492E}" srcOrd="11" destOrd="0" presId="urn:microsoft.com/office/officeart/2005/8/layout/vList5"/>
    <dgm:cxn modelId="{5C6365B3-C48D-4292-83B1-2905BF5DBFA2}" type="presParOf" srcId="{46BC89E6-70FA-4565-9C14-0F84ADBBEACC}" destId="{17EBBB7A-57CB-49E8-9116-D6A10781EA47}" srcOrd="12" destOrd="0" presId="urn:microsoft.com/office/officeart/2005/8/layout/vList5"/>
    <dgm:cxn modelId="{0997306F-6751-4E69-ABAD-335948CD77CE}" type="presParOf" srcId="{17EBBB7A-57CB-49E8-9116-D6A10781EA47}" destId="{28C20883-B1E6-4452-8172-58D2017C4BDE}" srcOrd="0" destOrd="0" presId="urn:microsoft.com/office/officeart/2005/8/layout/vList5"/>
    <dgm:cxn modelId="{53D48658-3ADD-4A9B-8DF8-80D26DFE18FD}" type="presParOf" srcId="{17EBBB7A-57CB-49E8-9116-D6A10781EA47}" destId="{14886699-ED5F-4089-A46F-66D099EE68E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92BB837-A9B0-4032-98F2-F609E51A72DD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012904B1-D5AC-4E5B-AC42-F9BBB73319A3}">
      <dgm:prSet/>
      <dgm:spPr/>
      <dgm:t>
        <a:bodyPr/>
        <a:lstStyle/>
        <a:p>
          <a:pPr rtl="0"/>
          <a:r>
            <a:rPr lang="da-DK" b="0" smtClean="0"/>
            <a:t>Opgaver:</a:t>
          </a:r>
          <a:br>
            <a:rPr lang="da-DK" b="0" smtClean="0"/>
          </a:br>
          <a:endParaRPr lang="da-DK"/>
        </a:p>
      </dgm:t>
    </dgm:pt>
    <dgm:pt modelId="{0DC2B8E1-D45E-46A6-BFC4-EF7CEBFDEE52}" type="parTrans" cxnId="{69381FC7-1A70-4BD4-9870-5E843E2AAF1F}">
      <dgm:prSet/>
      <dgm:spPr/>
      <dgm:t>
        <a:bodyPr/>
        <a:lstStyle/>
        <a:p>
          <a:endParaRPr lang="da-DK"/>
        </a:p>
      </dgm:t>
    </dgm:pt>
    <dgm:pt modelId="{F674CC3C-C323-4D5E-AA0D-568789D0B673}" type="sibTrans" cxnId="{69381FC7-1A70-4BD4-9870-5E843E2AAF1F}">
      <dgm:prSet/>
      <dgm:spPr/>
      <dgm:t>
        <a:bodyPr/>
        <a:lstStyle/>
        <a:p>
          <a:endParaRPr lang="da-DK"/>
        </a:p>
      </dgm:t>
    </dgm:pt>
    <dgm:pt modelId="{17E0DD86-8BF9-46A0-90DB-0D623FE0096F}">
      <dgm:prSet/>
      <dgm:spPr/>
      <dgm:t>
        <a:bodyPr/>
        <a:lstStyle/>
        <a:p>
          <a:pPr rtl="0"/>
          <a:r>
            <a:rPr lang="da-DK" b="0" smtClean="0"/>
            <a:t>Kundedrift og –forvaltningsopgaver (ligger ellers hos KOMBIT)</a:t>
          </a:r>
          <a:br>
            <a:rPr lang="da-DK" b="0" smtClean="0"/>
          </a:br>
          <a:endParaRPr lang="da-DK"/>
        </a:p>
      </dgm:t>
    </dgm:pt>
    <dgm:pt modelId="{27C04ACA-85F7-4944-95E6-CC4E592937EB}" type="parTrans" cxnId="{DC9B3D13-2626-4144-8175-966B07E0E201}">
      <dgm:prSet/>
      <dgm:spPr/>
      <dgm:t>
        <a:bodyPr/>
        <a:lstStyle/>
        <a:p>
          <a:endParaRPr lang="da-DK"/>
        </a:p>
      </dgm:t>
    </dgm:pt>
    <dgm:pt modelId="{41114BB5-6786-4205-A221-C890A24D494B}" type="sibTrans" cxnId="{DC9B3D13-2626-4144-8175-966B07E0E201}">
      <dgm:prSet/>
      <dgm:spPr/>
      <dgm:t>
        <a:bodyPr/>
        <a:lstStyle/>
        <a:p>
          <a:endParaRPr lang="da-DK"/>
        </a:p>
      </dgm:t>
    </dgm:pt>
    <dgm:pt modelId="{8E5346E8-1074-46EA-AA37-9D72126E2930}">
      <dgm:prSet/>
      <dgm:spPr/>
      <dgm:t>
        <a:bodyPr/>
        <a:lstStyle/>
        <a:p>
          <a:pPr rtl="0"/>
          <a:r>
            <a:rPr lang="da-DK" b="0" smtClean="0"/>
            <a:t>Support (2. level – 1. level i den enkelte kommune)</a:t>
          </a:r>
          <a:br>
            <a:rPr lang="da-DK" b="0" smtClean="0"/>
          </a:br>
          <a:endParaRPr lang="da-DK"/>
        </a:p>
      </dgm:t>
    </dgm:pt>
    <dgm:pt modelId="{C8C20073-89BC-4CF6-914E-6F3F1BB6870E}" type="parTrans" cxnId="{9D080BF3-E112-41E7-8D02-5B9D3E9EFF60}">
      <dgm:prSet/>
      <dgm:spPr/>
      <dgm:t>
        <a:bodyPr/>
        <a:lstStyle/>
        <a:p>
          <a:endParaRPr lang="da-DK"/>
        </a:p>
      </dgm:t>
    </dgm:pt>
    <dgm:pt modelId="{9EA3639D-A9C8-471F-8DC2-A4A65E319AEC}" type="sibTrans" cxnId="{9D080BF3-E112-41E7-8D02-5B9D3E9EFF60}">
      <dgm:prSet/>
      <dgm:spPr/>
      <dgm:t>
        <a:bodyPr/>
        <a:lstStyle/>
        <a:p>
          <a:endParaRPr lang="da-DK"/>
        </a:p>
      </dgm:t>
    </dgm:pt>
    <dgm:pt modelId="{06CAE56F-61E7-4133-B489-599E964EEF07}">
      <dgm:prSet/>
      <dgm:spPr/>
      <dgm:t>
        <a:bodyPr/>
        <a:lstStyle/>
        <a:p>
          <a:pPr rtl="0"/>
          <a:r>
            <a:rPr lang="da-DK" b="0" smtClean="0"/>
            <a:t>Servicebussen (integrationsplatform for uddata)</a:t>
          </a:r>
          <a:br>
            <a:rPr lang="da-DK" b="0" smtClean="0"/>
          </a:br>
          <a:endParaRPr lang="da-DK"/>
        </a:p>
      </dgm:t>
    </dgm:pt>
    <dgm:pt modelId="{53974283-6E0E-4ECE-A61D-902FA77B22C5}" type="parTrans" cxnId="{AAD89D45-CACC-4D76-97D1-969995BAA1EB}">
      <dgm:prSet/>
      <dgm:spPr/>
      <dgm:t>
        <a:bodyPr/>
        <a:lstStyle/>
        <a:p>
          <a:endParaRPr lang="da-DK"/>
        </a:p>
      </dgm:t>
    </dgm:pt>
    <dgm:pt modelId="{1C78CFE7-73EF-463E-9E16-91F58E7490AB}" type="sibTrans" cxnId="{AAD89D45-CACC-4D76-97D1-969995BAA1EB}">
      <dgm:prSet/>
      <dgm:spPr/>
      <dgm:t>
        <a:bodyPr/>
        <a:lstStyle/>
        <a:p>
          <a:endParaRPr lang="da-DK"/>
        </a:p>
      </dgm:t>
    </dgm:pt>
    <dgm:pt modelId="{A276E24C-EC95-478B-9D94-A7F440F01835}">
      <dgm:prSet/>
      <dgm:spPr/>
      <dgm:t>
        <a:bodyPr/>
        <a:lstStyle/>
        <a:p>
          <a:pPr rtl="0"/>
          <a:r>
            <a:rPr lang="da-DK" b="0" smtClean="0"/>
            <a:t>Datavarehus og rapportering (kun regioner)</a:t>
          </a:r>
          <a:br>
            <a:rPr lang="da-DK" b="0" smtClean="0"/>
          </a:br>
          <a:endParaRPr lang="da-DK"/>
        </a:p>
      </dgm:t>
    </dgm:pt>
    <dgm:pt modelId="{6E922002-5616-4B69-9D4E-35EA897FC578}" type="parTrans" cxnId="{AF540355-021A-43AE-A8BD-3CFD8BAA5315}">
      <dgm:prSet/>
      <dgm:spPr/>
      <dgm:t>
        <a:bodyPr/>
        <a:lstStyle/>
        <a:p>
          <a:endParaRPr lang="da-DK"/>
        </a:p>
      </dgm:t>
    </dgm:pt>
    <dgm:pt modelId="{E6CA5F64-D864-4237-AC58-67C3507D54F0}" type="sibTrans" cxnId="{AF540355-021A-43AE-A8BD-3CFD8BAA5315}">
      <dgm:prSet/>
      <dgm:spPr/>
      <dgm:t>
        <a:bodyPr/>
        <a:lstStyle/>
        <a:p>
          <a:endParaRPr lang="da-DK"/>
        </a:p>
      </dgm:t>
    </dgm:pt>
    <dgm:pt modelId="{BB97DC99-F2D4-4077-8AE0-9A58F573F90E}">
      <dgm:prSet/>
      <dgm:spPr/>
      <dgm:t>
        <a:bodyPr/>
        <a:lstStyle/>
        <a:p>
          <a:pPr rtl="0"/>
          <a:r>
            <a:rPr lang="da-DK" b="0" smtClean="0"/>
            <a:t>Nye love og regler (indarbejdelse af overenskomster)</a:t>
          </a:r>
          <a:endParaRPr lang="da-DK"/>
        </a:p>
      </dgm:t>
    </dgm:pt>
    <dgm:pt modelId="{E564B30F-BA7D-4302-B254-5E76A16C0A46}" type="parTrans" cxnId="{F425A484-57C0-421B-A1DB-B84AABDFCAD7}">
      <dgm:prSet/>
      <dgm:spPr/>
      <dgm:t>
        <a:bodyPr/>
        <a:lstStyle/>
        <a:p>
          <a:endParaRPr lang="da-DK"/>
        </a:p>
      </dgm:t>
    </dgm:pt>
    <dgm:pt modelId="{CE18A3BD-0EB2-4616-AB73-8A5DD6A63D2E}" type="sibTrans" cxnId="{F425A484-57C0-421B-A1DB-B84AABDFCAD7}">
      <dgm:prSet/>
      <dgm:spPr/>
      <dgm:t>
        <a:bodyPr/>
        <a:lstStyle/>
        <a:p>
          <a:endParaRPr lang="da-DK"/>
        </a:p>
      </dgm:t>
    </dgm:pt>
    <dgm:pt modelId="{1867BEF0-BE89-4615-896F-6DEFFB0CE538}" type="pres">
      <dgm:prSet presAssocID="{092BB837-A9B0-4032-98F2-F609E51A72DD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da-DK"/>
        </a:p>
      </dgm:t>
    </dgm:pt>
    <dgm:pt modelId="{2352DF31-5ACC-4A06-A4FC-098661FDB172}" type="pres">
      <dgm:prSet presAssocID="{092BB837-A9B0-4032-98F2-F609E51A72DD}" presName="pyramid" presStyleLbl="node1" presStyleIdx="0" presStyleCnt="1"/>
      <dgm:spPr/>
    </dgm:pt>
    <dgm:pt modelId="{9015B03A-2C38-4979-9583-B7DDE2FD6116}" type="pres">
      <dgm:prSet presAssocID="{092BB837-A9B0-4032-98F2-F609E51A72DD}" presName="theList" presStyleCnt="0"/>
      <dgm:spPr/>
    </dgm:pt>
    <dgm:pt modelId="{9BED207B-AC17-431D-9E42-BBF83408DAD9}" type="pres">
      <dgm:prSet presAssocID="{012904B1-D5AC-4E5B-AC42-F9BBB73319A3}" presName="aNode" presStyleLbl="fgAcc1" presStyleIdx="0" presStyleCnt="1" custScaleX="276353" custScaleY="116636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3C81FB1-800C-43A2-8048-AA97E27E5D52}" type="pres">
      <dgm:prSet presAssocID="{012904B1-D5AC-4E5B-AC42-F9BBB73319A3}" presName="aSpace" presStyleCnt="0"/>
      <dgm:spPr/>
    </dgm:pt>
  </dgm:ptLst>
  <dgm:cxnLst>
    <dgm:cxn modelId="{C7C6F978-1C0A-4EAC-B5E7-B61CC565E752}" type="presOf" srcId="{06CAE56F-61E7-4133-B489-599E964EEF07}" destId="{9BED207B-AC17-431D-9E42-BBF83408DAD9}" srcOrd="0" destOrd="3" presId="urn:microsoft.com/office/officeart/2005/8/layout/pyramid2"/>
    <dgm:cxn modelId="{69381FC7-1A70-4BD4-9870-5E843E2AAF1F}" srcId="{092BB837-A9B0-4032-98F2-F609E51A72DD}" destId="{012904B1-D5AC-4E5B-AC42-F9BBB73319A3}" srcOrd="0" destOrd="0" parTransId="{0DC2B8E1-D45E-46A6-BFC4-EF7CEBFDEE52}" sibTransId="{F674CC3C-C323-4D5E-AA0D-568789D0B673}"/>
    <dgm:cxn modelId="{D7B3ADDA-D4E7-4387-8983-30CF5C2DBB03}" type="presOf" srcId="{17E0DD86-8BF9-46A0-90DB-0D623FE0096F}" destId="{9BED207B-AC17-431D-9E42-BBF83408DAD9}" srcOrd="0" destOrd="1" presId="urn:microsoft.com/office/officeart/2005/8/layout/pyramid2"/>
    <dgm:cxn modelId="{7908B09C-ABCE-42BD-8576-850AB2D93E33}" type="presOf" srcId="{092BB837-A9B0-4032-98F2-F609E51A72DD}" destId="{1867BEF0-BE89-4615-896F-6DEFFB0CE538}" srcOrd="0" destOrd="0" presId="urn:microsoft.com/office/officeart/2005/8/layout/pyramid2"/>
    <dgm:cxn modelId="{C083C866-311F-4BB8-9D12-8A7184A3C956}" type="presOf" srcId="{BB97DC99-F2D4-4077-8AE0-9A58F573F90E}" destId="{9BED207B-AC17-431D-9E42-BBF83408DAD9}" srcOrd="0" destOrd="5" presId="urn:microsoft.com/office/officeart/2005/8/layout/pyramid2"/>
    <dgm:cxn modelId="{F425A484-57C0-421B-A1DB-B84AABDFCAD7}" srcId="{012904B1-D5AC-4E5B-AC42-F9BBB73319A3}" destId="{BB97DC99-F2D4-4077-8AE0-9A58F573F90E}" srcOrd="4" destOrd="0" parTransId="{E564B30F-BA7D-4302-B254-5E76A16C0A46}" sibTransId="{CE18A3BD-0EB2-4616-AB73-8A5DD6A63D2E}"/>
    <dgm:cxn modelId="{DC9B3D13-2626-4144-8175-966B07E0E201}" srcId="{012904B1-D5AC-4E5B-AC42-F9BBB73319A3}" destId="{17E0DD86-8BF9-46A0-90DB-0D623FE0096F}" srcOrd="0" destOrd="0" parTransId="{27C04ACA-85F7-4944-95E6-CC4E592937EB}" sibTransId="{41114BB5-6786-4205-A221-C890A24D494B}"/>
    <dgm:cxn modelId="{9F77A344-6C29-417E-B2FB-9DAF19449B9E}" type="presOf" srcId="{8E5346E8-1074-46EA-AA37-9D72126E2930}" destId="{9BED207B-AC17-431D-9E42-BBF83408DAD9}" srcOrd="0" destOrd="2" presId="urn:microsoft.com/office/officeart/2005/8/layout/pyramid2"/>
    <dgm:cxn modelId="{AF540355-021A-43AE-A8BD-3CFD8BAA5315}" srcId="{012904B1-D5AC-4E5B-AC42-F9BBB73319A3}" destId="{A276E24C-EC95-478B-9D94-A7F440F01835}" srcOrd="3" destOrd="0" parTransId="{6E922002-5616-4B69-9D4E-35EA897FC578}" sibTransId="{E6CA5F64-D864-4237-AC58-67C3507D54F0}"/>
    <dgm:cxn modelId="{9D080BF3-E112-41E7-8D02-5B9D3E9EFF60}" srcId="{012904B1-D5AC-4E5B-AC42-F9BBB73319A3}" destId="{8E5346E8-1074-46EA-AA37-9D72126E2930}" srcOrd="1" destOrd="0" parTransId="{C8C20073-89BC-4CF6-914E-6F3F1BB6870E}" sibTransId="{9EA3639D-A9C8-471F-8DC2-A4A65E319AEC}"/>
    <dgm:cxn modelId="{AAD89D45-CACC-4D76-97D1-969995BAA1EB}" srcId="{012904B1-D5AC-4E5B-AC42-F9BBB73319A3}" destId="{06CAE56F-61E7-4133-B489-599E964EEF07}" srcOrd="2" destOrd="0" parTransId="{53974283-6E0E-4ECE-A61D-902FA77B22C5}" sibTransId="{1C78CFE7-73EF-463E-9E16-91F58E7490AB}"/>
    <dgm:cxn modelId="{067925A9-1D84-41AF-8FC8-7CF59D662BC4}" type="presOf" srcId="{A276E24C-EC95-478B-9D94-A7F440F01835}" destId="{9BED207B-AC17-431D-9E42-BBF83408DAD9}" srcOrd="0" destOrd="4" presId="urn:microsoft.com/office/officeart/2005/8/layout/pyramid2"/>
    <dgm:cxn modelId="{0AB1FAA2-BF35-4A42-9C04-6415297FDD2D}" type="presOf" srcId="{012904B1-D5AC-4E5B-AC42-F9BBB73319A3}" destId="{9BED207B-AC17-431D-9E42-BBF83408DAD9}" srcOrd="0" destOrd="0" presId="urn:microsoft.com/office/officeart/2005/8/layout/pyramid2"/>
    <dgm:cxn modelId="{CDBB6255-862F-47B1-A77C-D7EDE3C98B15}" type="presParOf" srcId="{1867BEF0-BE89-4615-896F-6DEFFB0CE538}" destId="{2352DF31-5ACC-4A06-A4FC-098661FDB172}" srcOrd="0" destOrd="0" presId="urn:microsoft.com/office/officeart/2005/8/layout/pyramid2"/>
    <dgm:cxn modelId="{D8E313E9-BF7D-41B8-97D0-2A555C9598F8}" type="presParOf" srcId="{1867BEF0-BE89-4615-896F-6DEFFB0CE538}" destId="{9015B03A-2C38-4979-9583-B7DDE2FD6116}" srcOrd="1" destOrd="0" presId="urn:microsoft.com/office/officeart/2005/8/layout/pyramid2"/>
    <dgm:cxn modelId="{7EA82EB5-5DE4-4AC9-9CAE-40F68205ED7F}" type="presParOf" srcId="{9015B03A-2C38-4979-9583-B7DDE2FD6116}" destId="{9BED207B-AC17-431D-9E42-BBF83408DAD9}" srcOrd="0" destOrd="0" presId="urn:microsoft.com/office/officeart/2005/8/layout/pyramid2"/>
    <dgm:cxn modelId="{9A5168D6-3803-4DD9-B342-920670CAE959}" type="presParOf" srcId="{9015B03A-2C38-4979-9583-B7DDE2FD6116}" destId="{B3C81FB1-800C-43A2-8048-AA97E27E5D52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341131-BB10-4090-8A4B-F4D6443981B9}">
      <dsp:nvSpPr>
        <dsp:cNvPr id="0" name=""/>
        <dsp:cNvSpPr/>
      </dsp:nvSpPr>
      <dsp:spPr>
        <a:xfrm>
          <a:off x="0" y="3673229"/>
          <a:ext cx="8172455" cy="78452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100" kern="1200" dirty="0" smtClean="0"/>
            <a:t>Ansvarlig for at deltage i uddannelse og læse vejledninger</a:t>
          </a:r>
          <a:endParaRPr lang="da-DK" sz="1100" kern="1200" dirty="0"/>
        </a:p>
      </dsp:txBody>
      <dsp:txXfrm>
        <a:off x="0" y="3673229"/>
        <a:ext cx="2451736" cy="784523"/>
      </dsp:txXfrm>
    </dsp:sp>
    <dsp:sp modelId="{9E459289-AB61-4517-A727-FB974C19E5C4}">
      <dsp:nvSpPr>
        <dsp:cNvPr id="0" name=""/>
        <dsp:cNvSpPr/>
      </dsp:nvSpPr>
      <dsp:spPr>
        <a:xfrm>
          <a:off x="0" y="2757951"/>
          <a:ext cx="8172455" cy="78452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100" kern="1200" dirty="0" smtClean="0"/>
            <a:t>Ansvarlig for deltagelse i specialuddannelse, oprettelse af brugere, deltagelse i test samt yde support til almindelige brugere</a:t>
          </a:r>
          <a:endParaRPr lang="da-DK" sz="1100" kern="1200" dirty="0"/>
        </a:p>
      </dsp:txBody>
      <dsp:txXfrm>
        <a:off x="0" y="2757951"/>
        <a:ext cx="2451736" cy="784523"/>
      </dsp:txXfrm>
    </dsp:sp>
    <dsp:sp modelId="{FEE57002-3CA7-4643-A5D9-4432E114ACA9}">
      <dsp:nvSpPr>
        <dsp:cNvPr id="0" name=""/>
        <dsp:cNvSpPr/>
      </dsp:nvSpPr>
      <dsp:spPr>
        <a:xfrm>
          <a:off x="0" y="1842673"/>
          <a:ext cx="8172455" cy="78452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100" kern="1200" dirty="0" smtClean="0"/>
            <a:t>Ansvarlig for selve implementeringen i kommunen, herunder kommunikation, koordinering, planlægning af uddannelse m.m.</a:t>
          </a:r>
          <a:endParaRPr lang="da-DK" sz="1100" kern="1200" dirty="0"/>
        </a:p>
      </dsp:txBody>
      <dsp:txXfrm>
        <a:off x="0" y="1842673"/>
        <a:ext cx="2451736" cy="784523"/>
      </dsp:txXfrm>
    </dsp:sp>
    <dsp:sp modelId="{ED41F3CF-5047-4FFA-B944-E3DA2B861E61}">
      <dsp:nvSpPr>
        <dsp:cNvPr id="0" name=""/>
        <dsp:cNvSpPr/>
      </dsp:nvSpPr>
      <dsp:spPr>
        <a:xfrm>
          <a:off x="0" y="927395"/>
          <a:ext cx="8172455" cy="78452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100" kern="1200" dirty="0" smtClean="0"/>
            <a:t>Ansvarlig for koordinering og kommunikation mellem kommuner og den overordnede implementeringsansvarlige</a:t>
          </a:r>
          <a:endParaRPr lang="da-DK" sz="1100" kern="1200" dirty="0"/>
        </a:p>
      </dsp:txBody>
      <dsp:txXfrm>
        <a:off x="0" y="927395"/>
        <a:ext cx="2451736" cy="784523"/>
      </dsp:txXfrm>
    </dsp:sp>
    <dsp:sp modelId="{13310661-7346-4C0F-BA00-BBE22F0B6C0D}">
      <dsp:nvSpPr>
        <dsp:cNvPr id="0" name=""/>
        <dsp:cNvSpPr/>
      </dsp:nvSpPr>
      <dsp:spPr>
        <a:xfrm>
          <a:off x="0" y="12118"/>
          <a:ext cx="8172455" cy="78452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100" kern="1200" dirty="0" smtClean="0"/>
            <a:t>Ansvarlig for koordinering og kommunikation mellem projektet og den kommunale implementeringsorganisation</a:t>
          </a:r>
        </a:p>
      </dsp:txBody>
      <dsp:txXfrm>
        <a:off x="0" y="12118"/>
        <a:ext cx="2451736" cy="784523"/>
      </dsp:txXfrm>
    </dsp:sp>
    <dsp:sp modelId="{24A492CD-0C86-4341-9A6E-30DEEF6E13D9}">
      <dsp:nvSpPr>
        <dsp:cNvPr id="0" name=""/>
        <dsp:cNvSpPr/>
      </dsp:nvSpPr>
      <dsp:spPr>
        <a:xfrm>
          <a:off x="4740043" y="77495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Landsimplementeringsansvarlig</a:t>
          </a:r>
          <a:endParaRPr lang="da-DK" sz="500" kern="1200" dirty="0"/>
        </a:p>
      </dsp:txBody>
      <dsp:txXfrm>
        <a:off x="4759191" y="96643"/>
        <a:ext cx="942358" cy="615473"/>
      </dsp:txXfrm>
    </dsp:sp>
    <dsp:sp modelId="{00EC8492-BC28-474F-847D-8A4AD9EB7FD9}">
      <dsp:nvSpPr>
        <dsp:cNvPr id="0" name=""/>
        <dsp:cNvSpPr/>
      </dsp:nvSpPr>
      <dsp:spPr>
        <a:xfrm>
          <a:off x="3955520" y="731264"/>
          <a:ext cx="1274851" cy="261507"/>
        </a:xfrm>
        <a:custGeom>
          <a:avLst/>
          <a:gdLst/>
          <a:ahLst/>
          <a:cxnLst/>
          <a:rect l="0" t="0" r="0" b="0"/>
          <a:pathLst>
            <a:path>
              <a:moveTo>
                <a:pt x="1274851" y="0"/>
              </a:moveTo>
              <a:lnTo>
                <a:pt x="1274851" y="130753"/>
              </a:lnTo>
              <a:lnTo>
                <a:pt x="0" y="130753"/>
              </a:lnTo>
              <a:lnTo>
                <a:pt x="0" y="2615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EF13DB-379F-46DE-A12A-6A6EAC0137C2}">
      <dsp:nvSpPr>
        <dsp:cNvPr id="0" name=""/>
        <dsp:cNvSpPr/>
      </dsp:nvSpPr>
      <dsp:spPr>
        <a:xfrm>
          <a:off x="3465192" y="992772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Regional implementeringsansvarlig</a:t>
          </a:r>
          <a:endParaRPr lang="da-DK" sz="500" kern="1200" dirty="0"/>
        </a:p>
      </dsp:txBody>
      <dsp:txXfrm>
        <a:off x="3484340" y="1011920"/>
        <a:ext cx="942358" cy="615473"/>
      </dsp:txXfrm>
    </dsp:sp>
    <dsp:sp modelId="{D54D8F06-C8B8-4799-814B-4BC021CEEC49}">
      <dsp:nvSpPr>
        <dsp:cNvPr id="0" name=""/>
        <dsp:cNvSpPr/>
      </dsp:nvSpPr>
      <dsp:spPr>
        <a:xfrm>
          <a:off x="3318094" y="1646542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637425" y="0"/>
              </a:moveTo>
              <a:lnTo>
                <a:pt x="637425" y="130753"/>
              </a:lnTo>
              <a:lnTo>
                <a:pt x="0" y="130753"/>
              </a:lnTo>
              <a:lnTo>
                <a:pt x="0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669FBD-F2FE-439A-8885-7C85B7F89F28}">
      <dsp:nvSpPr>
        <dsp:cNvPr id="0" name=""/>
        <dsp:cNvSpPr/>
      </dsp:nvSpPr>
      <dsp:spPr>
        <a:xfrm>
          <a:off x="2827767" y="1908050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Kommunal implementerings-ansvarlig</a:t>
          </a:r>
          <a:endParaRPr lang="da-DK" sz="500" kern="1200" dirty="0"/>
        </a:p>
      </dsp:txBody>
      <dsp:txXfrm>
        <a:off x="2846915" y="1927198"/>
        <a:ext cx="942358" cy="615473"/>
      </dsp:txXfrm>
    </dsp:sp>
    <dsp:sp modelId="{7DF82C14-AD98-40B6-A6B0-241FA684C628}">
      <dsp:nvSpPr>
        <dsp:cNvPr id="0" name=""/>
        <dsp:cNvSpPr/>
      </dsp:nvSpPr>
      <dsp:spPr>
        <a:xfrm>
          <a:off x="3955520" y="1646542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753"/>
              </a:lnTo>
              <a:lnTo>
                <a:pt x="637425" y="130753"/>
              </a:lnTo>
              <a:lnTo>
                <a:pt x="637425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6FF67F-22C8-4A7D-B142-400E8909288E}">
      <dsp:nvSpPr>
        <dsp:cNvPr id="0" name=""/>
        <dsp:cNvSpPr/>
      </dsp:nvSpPr>
      <dsp:spPr>
        <a:xfrm>
          <a:off x="4102618" y="1908050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Kommunal implementerings-ansvarlig</a:t>
          </a:r>
          <a:endParaRPr lang="da-DK" sz="500" kern="1200" dirty="0"/>
        </a:p>
      </dsp:txBody>
      <dsp:txXfrm>
        <a:off x="4121766" y="1927198"/>
        <a:ext cx="942358" cy="615473"/>
      </dsp:txXfrm>
    </dsp:sp>
    <dsp:sp modelId="{7572AAE9-4C42-4058-B76B-45901AD24627}">
      <dsp:nvSpPr>
        <dsp:cNvPr id="0" name=""/>
        <dsp:cNvSpPr/>
      </dsp:nvSpPr>
      <dsp:spPr>
        <a:xfrm>
          <a:off x="3636807" y="2561820"/>
          <a:ext cx="956138" cy="261507"/>
        </a:xfrm>
        <a:custGeom>
          <a:avLst/>
          <a:gdLst/>
          <a:ahLst/>
          <a:cxnLst/>
          <a:rect l="0" t="0" r="0" b="0"/>
          <a:pathLst>
            <a:path>
              <a:moveTo>
                <a:pt x="956138" y="0"/>
              </a:moveTo>
              <a:lnTo>
                <a:pt x="956138" y="130753"/>
              </a:lnTo>
              <a:lnTo>
                <a:pt x="0" y="130753"/>
              </a:lnTo>
              <a:lnTo>
                <a:pt x="0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9572B4-B27A-4F07-BCA1-025FD1BACB68}">
      <dsp:nvSpPr>
        <dsp:cNvPr id="0" name=""/>
        <dsp:cNvSpPr/>
      </dsp:nvSpPr>
      <dsp:spPr>
        <a:xfrm>
          <a:off x="3146479" y="2823328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Superbruger</a:t>
          </a:r>
          <a:endParaRPr lang="da-DK" sz="500" kern="1200" dirty="0"/>
        </a:p>
      </dsp:txBody>
      <dsp:txXfrm>
        <a:off x="3165627" y="2842476"/>
        <a:ext cx="942358" cy="615473"/>
      </dsp:txXfrm>
    </dsp:sp>
    <dsp:sp modelId="{A192A56E-EFB0-4CEE-B52A-987530172ED9}">
      <dsp:nvSpPr>
        <dsp:cNvPr id="0" name=""/>
        <dsp:cNvSpPr/>
      </dsp:nvSpPr>
      <dsp:spPr>
        <a:xfrm>
          <a:off x="3591087" y="3477098"/>
          <a:ext cx="91440" cy="26150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2D775B-6927-41C4-9904-4FE73CABF365}">
      <dsp:nvSpPr>
        <dsp:cNvPr id="0" name=""/>
        <dsp:cNvSpPr/>
      </dsp:nvSpPr>
      <dsp:spPr>
        <a:xfrm>
          <a:off x="3146479" y="3738606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Bruger</a:t>
          </a:r>
          <a:endParaRPr lang="da-DK" sz="500" kern="1200" dirty="0"/>
        </a:p>
      </dsp:txBody>
      <dsp:txXfrm>
        <a:off x="3165627" y="3757754"/>
        <a:ext cx="942358" cy="615473"/>
      </dsp:txXfrm>
    </dsp:sp>
    <dsp:sp modelId="{CED5566E-AB36-47F0-A25F-8DC7EEC44572}">
      <dsp:nvSpPr>
        <dsp:cNvPr id="0" name=""/>
        <dsp:cNvSpPr/>
      </dsp:nvSpPr>
      <dsp:spPr>
        <a:xfrm>
          <a:off x="4592945" y="2561820"/>
          <a:ext cx="956138" cy="261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753"/>
              </a:lnTo>
              <a:lnTo>
                <a:pt x="956138" y="130753"/>
              </a:lnTo>
              <a:lnTo>
                <a:pt x="956138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B08630-9E74-44FA-8D39-053174FE9F3E}">
      <dsp:nvSpPr>
        <dsp:cNvPr id="0" name=""/>
        <dsp:cNvSpPr/>
      </dsp:nvSpPr>
      <dsp:spPr>
        <a:xfrm>
          <a:off x="5058756" y="2823328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Superbruger</a:t>
          </a:r>
          <a:endParaRPr lang="da-DK" sz="500" kern="1200" dirty="0"/>
        </a:p>
      </dsp:txBody>
      <dsp:txXfrm>
        <a:off x="5077904" y="2842476"/>
        <a:ext cx="942358" cy="615473"/>
      </dsp:txXfrm>
    </dsp:sp>
    <dsp:sp modelId="{0DA3D105-D245-4B8D-A6AD-8BF94491636A}">
      <dsp:nvSpPr>
        <dsp:cNvPr id="0" name=""/>
        <dsp:cNvSpPr/>
      </dsp:nvSpPr>
      <dsp:spPr>
        <a:xfrm>
          <a:off x="4911658" y="3477098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637425" y="0"/>
              </a:moveTo>
              <a:lnTo>
                <a:pt x="637425" y="130753"/>
              </a:lnTo>
              <a:lnTo>
                <a:pt x="0" y="130753"/>
              </a:lnTo>
              <a:lnTo>
                <a:pt x="0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3B3D2B-96C9-4D77-94B6-AF8081CB3852}">
      <dsp:nvSpPr>
        <dsp:cNvPr id="0" name=""/>
        <dsp:cNvSpPr/>
      </dsp:nvSpPr>
      <dsp:spPr>
        <a:xfrm>
          <a:off x="4421331" y="3738606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Bruger</a:t>
          </a:r>
          <a:endParaRPr lang="da-DK" sz="500" kern="1200" dirty="0"/>
        </a:p>
      </dsp:txBody>
      <dsp:txXfrm>
        <a:off x="4440479" y="3757754"/>
        <a:ext cx="942358" cy="615473"/>
      </dsp:txXfrm>
    </dsp:sp>
    <dsp:sp modelId="{2D2F9388-9F61-4DEE-9898-4570FCA0B9FD}">
      <dsp:nvSpPr>
        <dsp:cNvPr id="0" name=""/>
        <dsp:cNvSpPr/>
      </dsp:nvSpPr>
      <dsp:spPr>
        <a:xfrm>
          <a:off x="5549083" y="3477098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753"/>
              </a:lnTo>
              <a:lnTo>
                <a:pt x="637425" y="130753"/>
              </a:lnTo>
              <a:lnTo>
                <a:pt x="637425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764904-EF69-49F5-AC3C-18F56FB3024C}">
      <dsp:nvSpPr>
        <dsp:cNvPr id="0" name=""/>
        <dsp:cNvSpPr/>
      </dsp:nvSpPr>
      <dsp:spPr>
        <a:xfrm>
          <a:off x="5696182" y="3738606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Bruger</a:t>
          </a:r>
          <a:endParaRPr lang="da-DK" sz="500" kern="1200" dirty="0"/>
        </a:p>
      </dsp:txBody>
      <dsp:txXfrm>
        <a:off x="5715330" y="3757754"/>
        <a:ext cx="942358" cy="615473"/>
      </dsp:txXfrm>
    </dsp:sp>
    <dsp:sp modelId="{F727B089-9D8C-402D-BCF8-AE582A23A258}">
      <dsp:nvSpPr>
        <dsp:cNvPr id="0" name=""/>
        <dsp:cNvSpPr/>
      </dsp:nvSpPr>
      <dsp:spPr>
        <a:xfrm>
          <a:off x="5230371" y="731264"/>
          <a:ext cx="1274851" cy="261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753"/>
              </a:lnTo>
              <a:lnTo>
                <a:pt x="1274851" y="130753"/>
              </a:lnTo>
              <a:lnTo>
                <a:pt x="1274851" y="2615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298CE0-1EA2-4800-9D98-B259408B384A}">
      <dsp:nvSpPr>
        <dsp:cNvPr id="0" name=""/>
        <dsp:cNvSpPr/>
      </dsp:nvSpPr>
      <dsp:spPr>
        <a:xfrm>
          <a:off x="6014894" y="992772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Regional implementeringsansvarlig</a:t>
          </a:r>
          <a:endParaRPr lang="da-DK" sz="500" kern="1200" dirty="0"/>
        </a:p>
      </dsp:txBody>
      <dsp:txXfrm>
        <a:off x="6034042" y="1011920"/>
        <a:ext cx="942358" cy="615473"/>
      </dsp:txXfrm>
    </dsp:sp>
    <dsp:sp modelId="{0F29ADB5-A3BB-41C0-957C-0FB3FE02B8D2}">
      <dsp:nvSpPr>
        <dsp:cNvPr id="0" name=""/>
        <dsp:cNvSpPr/>
      </dsp:nvSpPr>
      <dsp:spPr>
        <a:xfrm>
          <a:off x="5867796" y="1646542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637425" y="0"/>
              </a:moveTo>
              <a:lnTo>
                <a:pt x="637425" y="130753"/>
              </a:lnTo>
              <a:lnTo>
                <a:pt x="0" y="130753"/>
              </a:lnTo>
              <a:lnTo>
                <a:pt x="0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F2B334-323F-49C8-9786-AE09C77852EB}">
      <dsp:nvSpPr>
        <dsp:cNvPr id="0" name=""/>
        <dsp:cNvSpPr/>
      </dsp:nvSpPr>
      <dsp:spPr>
        <a:xfrm>
          <a:off x="5377469" y="1908050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Kommunal implementerings-ansvarlig</a:t>
          </a:r>
          <a:endParaRPr lang="da-DK" sz="500" kern="1200" dirty="0"/>
        </a:p>
      </dsp:txBody>
      <dsp:txXfrm>
        <a:off x="5396617" y="1927198"/>
        <a:ext cx="942358" cy="615473"/>
      </dsp:txXfrm>
    </dsp:sp>
    <dsp:sp modelId="{3D8CE626-7FE5-4D5D-A66C-68F1749F52D9}">
      <dsp:nvSpPr>
        <dsp:cNvPr id="0" name=""/>
        <dsp:cNvSpPr/>
      </dsp:nvSpPr>
      <dsp:spPr>
        <a:xfrm>
          <a:off x="6505222" y="1646542"/>
          <a:ext cx="637425" cy="2615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753"/>
              </a:lnTo>
              <a:lnTo>
                <a:pt x="637425" y="130753"/>
              </a:lnTo>
              <a:lnTo>
                <a:pt x="637425" y="26150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658E3F-E9DB-4533-A4E5-028442BAC5E5}">
      <dsp:nvSpPr>
        <dsp:cNvPr id="0" name=""/>
        <dsp:cNvSpPr/>
      </dsp:nvSpPr>
      <dsp:spPr>
        <a:xfrm>
          <a:off x="6652320" y="1908050"/>
          <a:ext cx="980654" cy="65376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500" kern="1200" dirty="0" smtClean="0"/>
            <a:t>Kommunal implementerings-ansvarlig</a:t>
          </a:r>
          <a:endParaRPr lang="da-DK" sz="500" kern="1200" dirty="0"/>
        </a:p>
      </dsp:txBody>
      <dsp:txXfrm>
        <a:off x="6671468" y="1927198"/>
        <a:ext cx="942358" cy="61547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095"/>
          </a:xfrm>
          <a:prstGeom prst="rect">
            <a:avLst/>
          </a:prstGeom>
        </p:spPr>
        <p:txBody>
          <a:bodyPr vert="horz" lIns="91271" tIns="45635" rIns="91271" bIns="45635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31" y="0"/>
            <a:ext cx="2945660" cy="496095"/>
          </a:xfrm>
          <a:prstGeom prst="rect">
            <a:avLst/>
          </a:prstGeom>
        </p:spPr>
        <p:txBody>
          <a:bodyPr vert="horz" lIns="91271" tIns="45635" rIns="91271" bIns="45635" rtlCol="0"/>
          <a:lstStyle>
            <a:lvl1pPr algn="r">
              <a:defRPr sz="1200"/>
            </a:lvl1pPr>
          </a:lstStyle>
          <a:p>
            <a:fld id="{5912812F-83C6-4BD2-861A-8DB344F0BD9D}" type="datetimeFigureOut">
              <a:rPr lang="da-DK" smtClean="0"/>
              <a:pPr/>
              <a:t>14-04-2015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959"/>
            <a:ext cx="2945660" cy="496094"/>
          </a:xfrm>
          <a:prstGeom prst="rect">
            <a:avLst/>
          </a:prstGeom>
        </p:spPr>
        <p:txBody>
          <a:bodyPr vert="horz" lIns="91271" tIns="45635" rIns="91271" bIns="45635" rtlCol="0" anchor="b"/>
          <a:lstStyle>
            <a:lvl1pPr algn="l">
              <a:defRPr sz="1200"/>
            </a:lvl1pPr>
          </a:lstStyle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0431" y="9428959"/>
            <a:ext cx="2945660" cy="496094"/>
          </a:xfrm>
          <a:prstGeom prst="rect">
            <a:avLst/>
          </a:prstGeom>
        </p:spPr>
        <p:txBody>
          <a:bodyPr vert="horz" lIns="91271" tIns="45635" rIns="91271" bIns="45635" rtlCol="0" anchor="b"/>
          <a:lstStyle>
            <a:lvl1pPr algn="r">
              <a:defRPr sz="1200"/>
            </a:lvl1pPr>
          </a:lstStyle>
          <a:p>
            <a:fld id="{EEB8FF22-893F-42C7-9EAA-58959B369F29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210483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1271" tIns="45635" rIns="91271" bIns="45635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1271" tIns="45635" rIns="91271" bIns="45635" rtlCol="0"/>
          <a:lstStyle>
            <a:lvl1pPr algn="r">
              <a:defRPr sz="1200"/>
            </a:lvl1pPr>
          </a:lstStyle>
          <a:p>
            <a:fld id="{29DF1CEF-8B79-49F9-B91F-48157CD73CEC}" type="datetimeFigureOut">
              <a:rPr lang="da-DK" smtClean="0"/>
              <a:pPr/>
              <a:t>14-04-2015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1" tIns="45635" rIns="91271" bIns="45635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271" tIns="45635" rIns="91271" bIns="45635" rtlCol="0">
            <a:normAutofit/>
          </a:bodyPr>
          <a:lstStyle/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60" cy="496332"/>
          </a:xfrm>
          <a:prstGeom prst="rect">
            <a:avLst/>
          </a:prstGeom>
        </p:spPr>
        <p:txBody>
          <a:bodyPr vert="horz" lIns="91271" tIns="45635" rIns="91271" bIns="45635" rtlCol="0" anchor="b"/>
          <a:lstStyle>
            <a:lvl1pPr algn="l">
              <a:defRPr sz="1200"/>
            </a:lvl1pPr>
          </a:lstStyle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1271" tIns="45635" rIns="91271" bIns="45635" rtlCol="0" anchor="b"/>
          <a:lstStyle>
            <a:lvl1pPr algn="r">
              <a:defRPr sz="1200"/>
            </a:lvl1pPr>
          </a:lstStyle>
          <a:p>
            <a:fld id="{E1AC1F8B-8C6B-4BB2-BEC2-713A5DB76A4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860652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5538339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40546419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AC1F8B-8C6B-4BB2-BEC2-713A5DB76A4D}" type="slidenum">
              <a:rPr lang="da-DK" smtClean="0"/>
              <a:pPr/>
              <a:t>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62960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200" b="1" dirty="0" smtClean="0"/>
              <a:t>Deltagelse i transition og implemente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200" dirty="0" smtClean="0"/>
              <a:t>1 implementeringsansvarlig i hver kommu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200" dirty="0" smtClean="0"/>
              <a:t>2 superbrugere i hver kommu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200" dirty="0" smtClean="0"/>
              <a:t>1 implementeringskoordinator i hver region (refundering af udgift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200" dirty="0" smtClean="0"/>
              <a:t>1 implementeringsansvarlig på landsplan (honorar)</a:t>
            </a:r>
          </a:p>
          <a:p>
            <a:endParaRPr lang="da-DK" dirty="0" smtClean="0"/>
          </a:p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AC1F8B-8C6B-4BB2-BEC2-713A5DB76A4D}" type="slidenum">
              <a:rPr lang="da-DK" smtClean="0"/>
              <a:pPr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4338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7154840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>
                <a:solidFill>
                  <a:prstClr val="black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165000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er kan være flere af disse forandringer, som CSC</a:t>
            </a:r>
            <a:r>
              <a:rPr lang="da-DK" baseline="0" dirty="0" smtClean="0"/>
              <a:t> allerede har fået eller vil få implementeret i NOTUS kommunal inden Praksys.dk går i drift. </a:t>
            </a: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AC1F8B-8C6B-4BB2-BEC2-713A5DB76A4D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2205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2863536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Slå sammen med næste slide</a:t>
            </a: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AC1F8B-8C6B-4BB2-BEC2-713A5DB76A4D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10582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901221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191767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5163" indent="-115163">
              <a:buFont typeface="Arial" panose="020B0604020202020204" pitchFamily="34" charset="0"/>
              <a:buChar char="•"/>
            </a:pPr>
            <a:r>
              <a:rPr lang="da-DK" dirty="0" smtClean="0"/>
              <a:t>Business casen er ved at blive revideret (sker ved hver faseovergang) – Driftsprisen bliver forventeligt</a:t>
            </a:r>
            <a:r>
              <a:rPr lang="da-DK" baseline="0" dirty="0" smtClean="0"/>
              <a:t> lidt mindre, da fx datasalg bliver fratrukket driftsprisen for service bussen. Der er ikke taget højde for ændret ansvarsfordeling mellem UDK og Kommuner. </a:t>
            </a:r>
            <a:endParaRPr lang="da-DK" dirty="0" smtClean="0"/>
          </a:p>
          <a:p>
            <a:pPr marL="115163" indent="-115163">
              <a:buFont typeface="Arial" panose="020B0604020202020204" pitchFamily="34" charset="0"/>
              <a:buChar char="•"/>
            </a:pPr>
            <a:r>
              <a:rPr lang="da-DK" dirty="0" smtClean="0"/>
              <a:t>Vi ligger under de nuværende omkostninger, men meget tæt på.</a:t>
            </a:r>
            <a:r>
              <a:rPr lang="da-DK" baseline="0" dirty="0" smtClean="0"/>
              <a:t> </a:t>
            </a:r>
          </a:p>
          <a:p>
            <a:pPr marL="115163" indent="-115163">
              <a:buFont typeface="Arial" panose="020B0604020202020204" pitchFamily="34" charset="0"/>
              <a:buChar char="•"/>
            </a:pPr>
            <a:r>
              <a:rPr lang="da-DK" baseline="0" dirty="0" smtClean="0"/>
              <a:t>Noget funktionalitet der betales ekstra for i dag, fås fremover som standard, og indgår derfor i prisen (fx automatisk bogføring, digitaliseringsrapport)</a:t>
            </a:r>
          </a:p>
          <a:p>
            <a:pPr marL="115163" indent="-115163" defTabSz="614202">
              <a:buFont typeface="Arial" panose="020B0604020202020204" pitchFamily="34" charset="0"/>
              <a:buChar char="•"/>
              <a:defRPr/>
            </a:pPr>
            <a:r>
              <a:rPr lang="da-DK" dirty="0" smtClean="0"/>
              <a:t>Effektiviseringsgevinster</a:t>
            </a:r>
            <a:r>
              <a:rPr lang="da-DK" baseline="0" dirty="0" smtClean="0"/>
              <a:t> er ikke indregnet, men vil komme som følge af de tidligere omtalte forandringer</a:t>
            </a:r>
          </a:p>
          <a:p>
            <a:pPr marL="115163" indent="-115163" defTabSz="614202">
              <a:buFont typeface="Arial" panose="020B0604020202020204" pitchFamily="34" charset="0"/>
              <a:buChar char="•"/>
              <a:defRPr/>
            </a:pPr>
            <a:r>
              <a:rPr lang="da-DK" baseline="0" dirty="0" smtClean="0"/>
              <a:t>Der tilbydes e-</a:t>
            </a:r>
            <a:r>
              <a:rPr lang="da-DK" baseline="0" dirty="0" err="1" smtClean="0"/>
              <a:t>learning</a:t>
            </a:r>
            <a:r>
              <a:rPr lang="da-DK" baseline="0" dirty="0" smtClean="0"/>
              <a:t> som en del af prisen, men øvrig uddannelse skal der betales ekstra for</a:t>
            </a:r>
          </a:p>
          <a:p>
            <a:pPr marL="115163" indent="-115163" defTabSz="614202">
              <a:buFont typeface="Arial" panose="020B0604020202020204" pitchFamily="34" charset="0"/>
              <a:buChar char="•"/>
              <a:defRPr/>
            </a:pPr>
            <a:endParaRPr lang="da-DK" dirty="0" smtClean="0"/>
          </a:p>
          <a:p>
            <a:pPr marL="115163" indent="-115163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a-DK" smtClean="0"/>
              <a:t>18. februar</a:t>
            </a:r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1AC1F8B-8C6B-4BB2-BEC2-713A5DB76A4D}" type="slidenum">
              <a:rPr lang="da-DK" smtClean="0"/>
              <a:pPr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81378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93405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fld id="{8D142B7E-961D-40CB-A06B-68339858C97C}" type="slidenum">
              <a:rPr lang="en-US" sz="1200" kern="1200">
                <a:solidFill>
                  <a:prstClr val="black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1200" kern="1200">
              <a:solidFill>
                <a:prstClr val="black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420915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4210" y="3506348"/>
            <a:ext cx="6730078" cy="720080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4000" cap="all" baseline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40775" y="423595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C8C93-2E68-4661-B185-308E85796B91}" type="datetimeFigureOut">
              <a:rPr lang="da-DK" smtClean="0"/>
              <a:t>14-04-2015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da-DK" smtClean="0"/>
              <a:t>‹nr.›</a:t>
            </a:fld>
            <a:endParaRPr lang="da-DK"/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1436878 h 3524878"/>
                <a:gd name="connsiteX1" fmla="*/ 2002275 w 4176000"/>
                <a:gd name="connsiteY1" fmla="*/ 682378 h 3524878"/>
                <a:gd name="connsiteX2" fmla="*/ 4176000 w 4176000"/>
                <a:gd name="connsiteY2" fmla="*/ 1436878 h 3524878"/>
                <a:gd name="connsiteX3" fmla="*/ 2088000 w 4176000"/>
                <a:gd name="connsiteY3" fmla="*/ 3524878 h 3524878"/>
                <a:gd name="connsiteX4" fmla="*/ 0 w 4176000"/>
                <a:gd name="connsiteY4" fmla="*/ 1436878 h 3524878"/>
                <a:gd name="connsiteX5" fmla="*/ 651122 w 4176000"/>
                <a:gd name="connsiteY5" fmla="*/ 1436878 h 3524878"/>
                <a:gd name="connsiteX6" fmla="*/ 2088000 w 4176000"/>
                <a:gd name="connsiteY6" fmla="*/ 2873756 h 3524878"/>
                <a:gd name="connsiteX7" fmla="*/ 3524878 w 4176000"/>
                <a:gd name="connsiteY7" fmla="*/ 1436878 h 3524878"/>
                <a:gd name="connsiteX8" fmla="*/ 2088000 w 4176000"/>
                <a:gd name="connsiteY8" fmla="*/ 0 h 3524878"/>
                <a:gd name="connsiteX9" fmla="*/ 651122 w 4176000"/>
                <a:gd name="connsiteY9" fmla="*/ 1436878 h 3524878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651122 w 4176000"/>
                <a:gd name="connsiteY8" fmla="*/ 815544 h 2903544"/>
                <a:gd name="connsiteX0" fmla="*/ 0 w 4176000"/>
                <a:gd name="connsiteY0" fmla="*/ 754500 h 2842500"/>
                <a:gd name="connsiteX1" fmla="*/ 2002275 w 4176000"/>
                <a:gd name="connsiteY1" fmla="*/ 0 h 2842500"/>
                <a:gd name="connsiteX2" fmla="*/ 4176000 w 4176000"/>
                <a:gd name="connsiteY2" fmla="*/ 754500 h 2842500"/>
                <a:gd name="connsiteX3" fmla="*/ 2088000 w 4176000"/>
                <a:gd name="connsiteY3" fmla="*/ 2842500 h 2842500"/>
                <a:gd name="connsiteX4" fmla="*/ 0 w 4176000"/>
                <a:gd name="connsiteY4" fmla="*/ 75450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0 w 4176000"/>
                <a:gd name="connsiteY0" fmla="*/ 754500 h 2842500"/>
                <a:gd name="connsiteX1" fmla="*/ 2002275 w 4176000"/>
                <a:gd name="connsiteY1" fmla="*/ 0 h 2842500"/>
                <a:gd name="connsiteX2" fmla="*/ 4176000 w 4176000"/>
                <a:gd name="connsiteY2" fmla="*/ 754500 h 2842500"/>
                <a:gd name="connsiteX3" fmla="*/ 2088000 w 4176000"/>
                <a:gd name="connsiteY3" fmla="*/ 2842500 h 2842500"/>
                <a:gd name="connsiteX4" fmla="*/ 0 w 4176000"/>
                <a:gd name="connsiteY4" fmla="*/ 75450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2002275 w 4176000"/>
                <a:gd name="connsiteY0" fmla="*/ 0 h 2842500"/>
                <a:gd name="connsiteX1" fmla="*/ 4176000 w 4176000"/>
                <a:gd name="connsiteY1" fmla="*/ 754500 h 2842500"/>
                <a:gd name="connsiteX2" fmla="*/ 2088000 w 4176000"/>
                <a:gd name="connsiteY2" fmla="*/ 2842500 h 2842500"/>
                <a:gd name="connsiteX3" fmla="*/ 0 w 4176000"/>
                <a:gd name="connsiteY3" fmla="*/ 754500 h 2842500"/>
                <a:gd name="connsiteX4" fmla="*/ 651122 w 4176000"/>
                <a:gd name="connsiteY4" fmla="*/ 754500 h 2842500"/>
                <a:gd name="connsiteX5" fmla="*/ 2088000 w 4176000"/>
                <a:gd name="connsiteY5" fmla="*/ 2191378 h 2842500"/>
                <a:gd name="connsiteX6" fmla="*/ 3524878 w 4176000"/>
                <a:gd name="connsiteY6" fmla="*/ 754500 h 2842500"/>
                <a:gd name="connsiteX7" fmla="*/ 651122 w 4176000"/>
                <a:gd name="connsiteY7" fmla="*/ 754500 h 2842500"/>
                <a:gd name="connsiteX8" fmla="*/ 2093715 w 4176000"/>
                <a:gd name="connsiteY8" fmla="*/ 91440 h 2842500"/>
                <a:gd name="connsiteX0" fmla="*/ 2002275 w 4176000"/>
                <a:gd name="connsiteY0" fmla="*/ 0 h 2842500"/>
                <a:gd name="connsiteX1" fmla="*/ 4176000 w 4176000"/>
                <a:gd name="connsiteY1" fmla="*/ 754500 h 2842500"/>
                <a:gd name="connsiteX2" fmla="*/ 2088000 w 4176000"/>
                <a:gd name="connsiteY2" fmla="*/ 2842500 h 2842500"/>
                <a:gd name="connsiteX3" fmla="*/ 0 w 4176000"/>
                <a:gd name="connsiteY3" fmla="*/ 754500 h 2842500"/>
                <a:gd name="connsiteX4" fmla="*/ 2002275 w 4176000"/>
                <a:gd name="connsiteY4" fmla="*/ 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0 w 4176000"/>
                <a:gd name="connsiteY0" fmla="*/ 0 h 2088000"/>
                <a:gd name="connsiteX1" fmla="*/ 4176000 w 4176000"/>
                <a:gd name="connsiteY1" fmla="*/ 0 h 2088000"/>
                <a:gd name="connsiteX2" fmla="*/ 2088000 w 4176000"/>
                <a:gd name="connsiteY2" fmla="*/ 2088000 h 2088000"/>
                <a:gd name="connsiteX3" fmla="*/ 0 w 4176000"/>
                <a:gd name="connsiteY3" fmla="*/ 0 h 2088000"/>
                <a:gd name="connsiteX4" fmla="*/ 651122 w 4176000"/>
                <a:gd name="connsiteY4" fmla="*/ 0 h 2088000"/>
                <a:gd name="connsiteX5" fmla="*/ 2088000 w 4176000"/>
                <a:gd name="connsiteY5" fmla="*/ 1436878 h 2088000"/>
                <a:gd name="connsiteX6" fmla="*/ 3524878 w 4176000"/>
                <a:gd name="connsiteY6" fmla="*/ 0 h 2088000"/>
                <a:gd name="connsiteX7" fmla="*/ 651122 w 4176000"/>
                <a:gd name="connsiteY7" fmla="*/ 0 h 2088000"/>
                <a:gd name="connsiteX0" fmla="*/ 0 w 4176000"/>
                <a:gd name="connsiteY0" fmla="*/ 102610 h 2190610"/>
                <a:gd name="connsiteX1" fmla="*/ 4176000 w 4176000"/>
                <a:gd name="connsiteY1" fmla="*/ 102610 h 2190610"/>
                <a:gd name="connsiteX2" fmla="*/ 2088000 w 4176000"/>
                <a:gd name="connsiteY2" fmla="*/ 2190610 h 2190610"/>
                <a:gd name="connsiteX3" fmla="*/ 0 w 4176000"/>
                <a:gd name="connsiteY3" fmla="*/ 102610 h 2190610"/>
                <a:gd name="connsiteX4" fmla="*/ 651122 w 4176000"/>
                <a:gd name="connsiteY4" fmla="*/ 102610 h 2190610"/>
                <a:gd name="connsiteX5" fmla="*/ 2088000 w 4176000"/>
                <a:gd name="connsiteY5" fmla="*/ 1539488 h 2190610"/>
                <a:gd name="connsiteX6" fmla="*/ 3524878 w 4176000"/>
                <a:gd name="connsiteY6" fmla="*/ 102610 h 2190610"/>
                <a:gd name="connsiteX7" fmla="*/ 651122 w 4176000"/>
                <a:gd name="connsiteY7" fmla="*/ 102610 h 2190610"/>
                <a:gd name="connsiteX0" fmla="*/ 0 w 4176000"/>
                <a:gd name="connsiteY0" fmla="*/ 203120 h 2291120"/>
                <a:gd name="connsiteX1" fmla="*/ 4176000 w 4176000"/>
                <a:gd name="connsiteY1" fmla="*/ 203120 h 2291120"/>
                <a:gd name="connsiteX2" fmla="*/ 2088000 w 4176000"/>
                <a:gd name="connsiteY2" fmla="*/ 2291120 h 2291120"/>
                <a:gd name="connsiteX3" fmla="*/ 0 w 4176000"/>
                <a:gd name="connsiteY3" fmla="*/ 203120 h 2291120"/>
                <a:gd name="connsiteX4" fmla="*/ 651122 w 4176000"/>
                <a:gd name="connsiteY4" fmla="*/ 203120 h 2291120"/>
                <a:gd name="connsiteX5" fmla="*/ 2088000 w 4176000"/>
                <a:gd name="connsiteY5" fmla="*/ 1639998 h 2291120"/>
                <a:gd name="connsiteX6" fmla="*/ 3524878 w 4176000"/>
                <a:gd name="connsiteY6" fmla="*/ 203120 h 2291120"/>
                <a:gd name="connsiteX7" fmla="*/ 1165472 w 4176000"/>
                <a:gd name="connsiteY7" fmla="*/ 79295 h 2291120"/>
                <a:gd name="connsiteX0" fmla="*/ 0 w 4176000"/>
                <a:gd name="connsiteY0" fmla="*/ 417095 h 2505095"/>
                <a:gd name="connsiteX1" fmla="*/ 4176000 w 4176000"/>
                <a:gd name="connsiteY1" fmla="*/ 417095 h 2505095"/>
                <a:gd name="connsiteX2" fmla="*/ 2088000 w 4176000"/>
                <a:gd name="connsiteY2" fmla="*/ 2505095 h 2505095"/>
                <a:gd name="connsiteX3" fmla="*/ 0 w 4176000"/>
                <a:gd name="connsiteY3" fmla="*/ 417095 h 2505095"/>
                <a:gd name="connsiteX4" fmla="*/ 651122 w 4176000"/>
                <a:gd name="connsiteY4" fmla="*/ 417095 h 2505095"/>
                <a:gd name="connsiteX5" fmla="*/ 2088000 w 4176000"/>
                <a:gd name="connsiteY5" fmla="*/ 1853973 h 2505095"/>
                <a:gd name="connsiteX6" fmla="*/ 3524878 w 4176000"/>
                <a:gd name="connsiteY6" fmla="*/ 417095 h 2505095"/>
                <a:gd name="connsiteX7" fmla="*/ 1232147 w 4176000"/>
                <a:gd name="connsiteY7" fmla="*/ 55145 h 2505095"/>
                <a:gd name="connsiteX0" fmla="*/ 0 w 4176000"/>
                <a:gd name="connsiteY0" fmla="*/ 0 h 2088000"/>
                <a:gd name="connsiteX1" fmla="*/ 4176000 w 4176000"/>
                <a:gd name="connsiteY1" fmla="*/ 0 h 2088000"/>
                <a:gd name="connsiteX2" fmla="*/ 2088000 w 4176000"/>
                <a:gd name="connsiteY2" fmla="*/ 2088000 h 2088000"/>
                <a:gd name="connsiteX3" fmla="*/ 0 w 4176000"/>
                <a:gd name="connsiteY3" fmla="*/ 0 h 2088000"/>
                <a:gd name="connsiteX4" fmla="*/ 651122 w 4176000"/>
                <a:gd name="connsiteY4" fmla="*/ 0 h 2088000"/>
                <a:gd name="connsiteX5" fmla="*/ 2088000 w 4176000"/>
                <a:gd name="connsiteY5" fmla="*/ 1436878 h 2088000"/>
                <a:gd name="connsiteX6" fmla="*/ 3524878 w 4176000"/>
                <a:gd name="connsiteY6" fmla="*/ 0 h 208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>
                <a:gd name="connsiteX0" fmla="*/ 0 w 2527419"/>
                <a:gd name="connsiteY0" fmla="*/ 0 h 649946"/>
                <a:gd name="connsiteX1" fmla="*/ 2527419 w 2527419"/>
                <a:gd name="connsiteY1" fmla="*/ 0 h 649946"/>
                <a:gd name="connsiteX2" fmla="*/ 2527419 w 2527419"/>
                <a:gd name="connsiteY2" fmla="*/ 649946 h 649946"/>
                <a:gd name="connsiteX3" fmla="*/ 0 w 2527419"/>
                <a:gd name="connsiteY3" fmla="*/ 649946 h 649946"/>
                <a:gd name="connsiteX4" fmla="*/ 0 w 2527419"/>
                <a:gd name="connsiteY4" fmla="*/ 0 h 649946"/>
                <a:gd name="connsiteX0" fmla="*/ 0 w 2527419"/>
                <a:gd name="connsiteY0" fmla="*/ 0 h 652096"/>
                <a:gd name="connsiteX1" fmla="*/ 2527419 w 2527419"/>
                <a:gd name="connsiteY1" fmla="*/ 0 h 652096"/>
                <a:gd name="connsiteX2" fmla="*/ 2527419 w 2527419"/>
                <a:gd name="connsiteY2" fmla="*/ 649946 h 652096"/>
                <a:gd name="connsiteX3" fmla="*/ 1893395 w 2527419"/>
                <a:gd name="connsiteY3" fmla="*/ 652096 h 652096"/>
                <a:gd name="connsiteX4" fmla="*/ 0 w 2527419"/>
                <a:gd name="connsiteY4" fmla="*/ 649946 h 652096"/>
                <a:gd name="connsiteX5" fmla="*/ 0 w 2527419"/>
                <a:gd name="connsiteY5" fmla="*/ 0 h 652096"/>
                <a:gd name="connsiteX0" fmla="*/ 0 w 2527419"/>
                <a:gd name="connsiteY0" fmla="*/ 0 h 652096"/>
                <a:gd name="connsiteX1" fmla="*/ 2527419 w 2527419"/>
                <a:gd name="connsiteY1" fmla="*/ 0 h 652096"/>
                <a:gd name="connsiteX2" fmla="*/ 1893395 w 2527419"/>
                <a:gd name="connsiteY2" fmla="*/ 652096 h 652096"/>
                <a:gd name="connsiteX3" fmla="*/ 0 w 2527419"/>
                <a:gd name="connsiteY3" fmla="*/ 649946 h 652096"/>
                <a:gd name="connsiteX4" fmla="*/ 0 w 2527419"/>
                <a:gd name="connsiteY4" fmla="*/ 0 h 65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6332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8686398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noProof="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091410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noProof="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0320367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A, Panorama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71488" y="2702719"/>
            <a:ext cx="8167687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fuld bredde</a:t>
            </a:r>
            <a:br>
              <a:rPr lang="da-DK" dirty="0" smtClean="0"/>
            </a:br>
            <a:r>
              <a:rPr lang="da-DK" dirty="0" smtClean="0"/>
              <a:t>(indsat billede kan fjernes igen med tastaturknappen DELETE)</a:t>
            </a:r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1116807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0737538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B, 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5038725" y="1587500"/>
            <a:ext cx="3600451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højre side (indsat billede kan fjernes igen med tastaturknappen DELETE)</a:t>
            </a:r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1989485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3600000"/>
            <a:ext cx="4319587" cy="2087562"/>
          </a:xfrm>
        </p:spPr>
        <p:txBody>
          <a:bodyPr anchor="b" anchorCtr="0"/>
          <a:lstStyle>
            <a:lvl1pPr marL="122400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122400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1224000" indent="0">
              <a:buNone/>
              <a:defRPr sz="2200" b="0">
                <a:solidFill>
                  <a:schemeClr val="tx1"/>
                </a:solidFill>
              </a:defRPr>
            </a:lvl3pPr>
            <a:lvl4pPr marL="1224000" indent="0">
              <a:buNone/>
              <a:defRPr sz="2200" b="0">
                <a:solidFill>
                  <a:schemeClr val="tx1"/>
                </a:solidFill>
              </a:defRPr>
            </a:lvl4pPr>
            <a:lvl5pPr marL="1224000" indent="0">
              <a:buNone/>
              <a:defRPr lang="da-DK" sz="2200" b="0" dirty="0">
                <a:solidFill>
                  <a:schemeClr val="tx1"/>
                </a:solidFill>
              </a:defRPr>
            </a:lvl5pPr>
          </a:lstStyle>
          <a:p>
            <a:pPr marL="1188000" lv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ørste niveau</a:t>
            </a:r>
          </a:p>
          <a:p>
            <a:pPr marL="1188000" lvl="1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Andet niveau</a:t>
            </a:r>
          </a:p>
          <a:p>
            <a:pPr marL="1188000" lvl="2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Tredje niveau</a:t>
            </a:r>
          </a:p>
          <a:p>
            <a:pPr marL="1188000" lvl="3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jerde niveau</a:t>
            </a:r>
          </a:p>
          <a:p>
            <a:pPr marL="1188000" lvl="4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6396625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C, 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716017" y="1587500"/>
            <a:ext cx="392316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højre side (indsat billede kan fjernes igen med tastaturknappen DELETE)</a:t>
            </a:r>
            <a:endParaRPr lang="da-DK" dirty="0"/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Klik på knappen i midten for at indsætte billede i venstre side (indsat billede kan fjernes igen med tastaturknappen DELETE)</a:t>
            </a:r>
          </a:p>
        </p:txBody>
      </p:sp>
    </p:spTree>
    <p:extLst>
      <p:ext uri="{BB962C8B-B14F-4D97-AF65-F5344CB8AC3E}">
        <p14:creationId xmlns:p14="http://schemas.microsoft.com/office/powerpoint/2010/main" val="443145469"/>
      </p:ext>
    </p:extLst>
  </p:cSld>
  <p:clrMapOvr>
    <a:masterClrMapping/>
  </p:clrMapOvr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D, Helside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67544" y="576264"/>
            <a:ext cx="8171633" cy="511492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helside billede (indsat billede kan fjernes igen med tastaturknappen DELETE)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6025861"/>
      </p:ext>
    </p:extLst>
  </p:cSld>
  <p:clrMapOvr>
    <a:masterClrMapping/>
  </p:clrMapOvr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E, Billede og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67544" y="576264"/>
            <a:ext cx="8171633" cy="511492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helside billede (indsat billede kan fjernes igen med tastaturknappen DELETE)</a:t>
            </a:r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828000" y="936000"/>
            <a:ext cx="3599984" cy="4395600"/>
          </a:xfrm>
          <a:solidFill>
            <a:schemeClr val="bg1"/>
          </a:solidFill>
        </p:spPr>
        <p:txBody>
          <a:bodyPr lIns="324000" tIns="270000" rIns="324000" bIns="270000"/>
          <a:lstStyle>
            <a:lvl1pPr>
              <a:lnSpc>
                <a:spcPct val="100000"/>
              </a:lnSpc>
              <a:defRPr sz="1700"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 sz="1700"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 sz="1700"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 sz="1700">
                <a:solidFill>
                  <a:schemeClr val="tx1"/>
                </a:solidFill>
              </a:defRPr>
            </a:lvl4pPr>
            <a:lvl5pPr>
              <a:lnSpc>
                <a:spcPts val="2200"/>
              </a:lnSpc>
              <a:defRPr sz="17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703444703"/>
      </p:ext>
    </p:extLst>
  </p:cSld>
  <p:clrMapOvr>
    <a:masterClrMapping/>
  </p:clrMapOvr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E, Rap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3" y="576000"/>
            <a:ext cx="6696745" cy="332720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pPr lvl="0"/>
            <a:r>
              <a:rPr lang="da-DK" dirty="0" smtClean="0"/>
              <a:t>Rapport overskrift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67999" y="1584001"/>
            <a:ext cx="6696289" cy="4106304"/>
          </a:xfrm>
        </p:spPr>
        <p:txBody>
          <a:bodyPr/>
          <a:lstStyle>
            <a:lvl1pPr>
              <a:lnSpc>
                <a:spcPts val="2200"/>
              </a:lnSpc>
              <a:defRPr sz="1500"/>
            </a:lvl1pPr>
            <a:lvl2pPr>
              <a:lnSpc>
                <a:spcPts val="2200"/>
              </a:lnSpc>
              <a:defRPr sz="1500" b="0"/>
            </a:lvl2pPr>
            <a:lvl3pPr>
              <a:lnSpc>
                <a:spcPts val="2200"/>
              </a:lnSpc>
              <a:defRPr sz="1500" b="0"/>
            </a:lvl3pPr>
            <a:lvl4pPr>
              <a:lnSpc>
                <a:spcPts val="2200"/>
              </a:lnSpc>
              <a:defRPr sz="1500" b="0" baseline="0"/>
            </a:lvl4pPr>
            <a:lvl5pPr>
              <a:lnSpc>
                <a:spcPts val="2200"/>
              </a:lnSpc>
              <a:defRPr sz="1500" b="0"/>
            </a:lvl5pPr>
          </a:lstStyle>
          <a:p>
            <a:pPr lvl="0"/>
            <a:r>
              <a:rPr lang="da-DK" dirty="0" smtClean="0"/>
              <a:t>Rubrik overskrift (Niveau 1)</a:t>
            </a:r>
          </a:p>
          <a:p>
            <a:pPr lvl="1"/>
            <a:r>
              <a:rPr lang="da-DK" dirty="0" smtClean="0"/>
              <a:t>Brødtekst (Niveau 2)</a:t>
            </a:r>
          </a:p>
          <a:p>
            <a:pPr lvl="2"/>
            <a:r>
              <a:rPr lang="da-DK" dirty="0" smtClean="0"/>
              <a:t>Tekst (Niveau 3)</a:t>
            </a:r>
          </a:p>
          <a:p>
            <a:pPr lvl="3"/>
            <a:r>
              <a:rPr lang="da-DK" dirty="0" smtClean="0"/>
              <a:t>Tekst (Niveau 4)</a:t>
            </a:r>
          </a:p>
          <a:p>
            <a:pPr lvl="4"/>
            <a:r>
              <a:rPr lang="da-DK" dirty="0" smtClean="0"/>
              <a:t>Tekst (Niveau 5)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1075"/>
            <a:ext cx="6696075" cy="360363"/>
          </a:xfrm>
        </p:spPr>
        <p:txBody>
          <a:bodyPr>
            <a:normAutofit/>
          </a:bodyPr>
          <a:lstStyle>
            <a:lvl1pPr>
              <a:lnSpc>
                <a:spcPts val="25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Rapport under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78128794"/>
      </p:ext>
    </p:extLst>
  </p:cSld>
  <p:clrMapOvr>
    <a:masterClrMapping/>
  </p:clrMapOvr>
  <p:hf sldNum="0"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noProof="0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5318" y="4406900"/>
            <a:ext cx="8231137" cy="1254347"/>
          </a:xfrm>
        </p:spPr>
        <p:txBody>
          <a:bodyPr anchor="t">
            <a:noAutofit/>
          </a:bodyPr>
          <a:lstStyle>
            <a:lvl1pPr algn="l">
              <a:defRPr sz="4300" b="0" cap="none" baseline="0"/>
            </a:lvl1pPr>
          </a:lstStyle>
          <a:p>
            <a:r>
              <a:rPr lang="da-DK" noProof="0" smtClean="0"/>
              <a:t>Klik for at redigere titeltypografi i masteren</a:t>
            </a:r>
            <a:endParaRPr lang="da-DK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458018" y="3429000"/>
            <a:ext cx="8218437" cy="793824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lang="en-US" sz="25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noProof="0" smtClean="0"/>
              <a:t>Klik for at redigere typografi i masteren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5999142"/>
            <a:ext cx="1512000" cy="530964"/>
          </a:xfrm>
          <a:prstGeom prst="rect">
            <a:avLst/>
          </a:prstGeom>
        </p:spPr>
      </p:pic>
      <p:sp>
        <p:nvSpPr>
          <p:cNvPr id="9" name="Freeform 12"/>
          <p:cNvSpPr>
            <a:spLocks noEditPoints="1"/>
          </p:cNvSpPr>
          <p:nvPr userDrawn="1"/>
        </p:nvSpPr>
        <p:spPr bwMode="auto">
          <a:xfrm>
            <a:off x="1954026" y="964377"/>
            <a:ext cx="7194211" cy="2223323"/>
          </a:xfrm>
          <a:custGeom>
            <a:avLst/>
            <a:gdLst>
              <a:gd name="T0" fmla="*/ 2151 w 2266"/>
              <a:gd name="T1" fmla="*/ 219 h 700"/>
              <a:gd name="T2" fmla="*/ 2161 w 2266"/>
              <a:gd name="T3" fmla="*/ 139 h 700"/>
              <a:gd name="T4" fmla="*/ 2023 w 2266"/>
              <a:gd name="T5" fmla="*/ 49 h 700"/>
              <a:gd name="T6" fmla="*/ 1945 w 2266"/>
              <a:gd name="T7" fmla="*/ 107 h 700"/>
              <a:gd name="T8" fmla="*/ 1781 w 2266"/>
              <a:gd name="T9" fmla="*/ 0 h 700"/>
              <a:gd name="T10" fmla="*/ 1672 w 2266"/>
              <a:gd name="T11" fmla="*/ 169 h 700"/>
              <a:gd name="T12" fmla="*/ 1574 w 2266"/>
              <a:gd name="T13" fmla="*/ 145 h 700"/>
              <a:gd name="T14" fmla="*/ 1482 w 2266"/>
              <a:gd name="T15" fmla="*/ 265 h 700"/>
              <a:gd name="T16" fmla="*/ 1210 w 2266"/>
              <a:gd name="T17" fmla="*/ 323 h 700"/>
              <a:gd name="T18" fmla="*/ 1077 w 2266"/>
              <a:gd name="T19" fmla="*/ 250 h 700"/>
              <a:gd name="T20" fmla="*/ 985 w 2266"/>
              <a:gd name="T21" fmla="*/ 371 h 700"/>
              <a:gd name="T22" fmla="*/ 719 w 2266"/>
              <a:gd name="T23" fmla="*/ 427 h 700"/>
              <a:gd name="T24" fmla="*/ 586 w 2266"/>
              <a:gd name="T25" fmla="*/ 355 h 700"/>
              <a:gd name="T26" fmla="*/ 493 w 2266"/>
              <a:gd name="T27" fmla="*/ 475 h 700"/>
              <a:gd name="T28" fmla="*/ 237 w 2266"/>
              <a:gd name="T29" fmla="*/ 530 h 700"/>
              <a:gd name="T30" fmla="*/ 104 w 2266"/>
              <a:gd name="T31" fmla="*/ 457 h 700"/>
              <a:gd name="T32" fmla="*/ 14 w 2266"/>
              <a:gd name="T33" fmla="*/ 596 h 700"/>
              <a:gd name="T34" fmla="*/ 153 w 2266"/>
              <a:gd name="T35" fmla="*/ 686 h 700"/>
              <a:gd name="T36" fmla="*/ 245 w 2266"/>
              <a:gd name="T37" fmla="*/ 565 h 700"/>
              <a:gd name="T38" fmla="*/ 500 w 2266"/>
              <a:gd name="T39" fmla="*/ 511 h 700"/>
              <a:gd name="T40" fmla="*/ 634 w 2266"/>
              <a:gd name="T41" fmla="*/ 584 h 700"/>
              <a:gd name="T42" fmla="*/ 726 w 2266"/>
              <a:gd name="T43" fmla="*/ 463 h 700"/>
              <a:gd name="T44" fmla="*/ 992 w 2266"/>
              <a:gd name="T45" fmla="*/ 406 h 700"/>
              <a:gd name="T46" fmla="*/ 1125 w 2266"/>
              <a:gd name="T47" fmla="*/ 480 h 700"/>
              <a:gd name="T48" fmla="*/ 1218 w 2266"/>
              <a:gd name="T49" fmla="*/ 358 h 700"/>
              <a:gd name="T50" fmla="*/ 1490 w 2266"/>
              <a:gd name="T51" fmla="*/ 301 h 700"/>
              <a:gd name="T52" fmla="*/ 1623 w 2266"/>
              <a:gd name="T53" fmla="*/ 374 h 700"/>
              <a:gd name="T54" fmla="*/ 1712 w 2266"/>
              <a:gd name="T55" fmla="*/ 235 h 700"/>
              <a:gd name="T56" fmla="*/ 1697 w 2266"/>
              <a:gd name="T57" fmla="*/ 196 h 700"/>
              <a:gd name="T58" fmla="*/ 1792 w 2266"/>
              <a:gd name="T59" fmla="*/ 50 h 700"/>
              <a:gd name="T60" fmla="*/ 1933 w 2266"/>
              <a:gd name="T61" fmla="*/ 142 h 700"/>
              <a:gd name="T62" fmla="*/ 1933 w 2266"/>
              <a:gd name="T63" fmla="*/ 188 h 700"/>
              <a:gd name="T64" fmla="*/ 2072 w 2266"/>
              <a:gd name="T65" fmla="*/ 278 h 700"/>
              <a:gd name="T66" fmla="*/ 2128 w 2266"/>
              <a:gd name="T67" fmla="*/ 248 h 700"/>
              <a:gd name="T68" fmla="*/ 2266 w 2266"/>
              <a:gd name="T69" fmla="*/ 338 h 700"/>
              <a:gd name="T70" fmla="*/ 2266 w 2266"/>
              <a:gd name="T71" fmla="*/ 294 h 700"/>
              <a:gd name="T72" fmla="*/ 2151 w 2266"/>
              <a:gd name="T73" fmla="*/ 219 h 700"/>
              <a:gd name="T74" fmla="*/ 145 w 2266"/>
              <a:gd name="T75" fmla="*/ 651 h 700"/>
              <a:gd name="T76" fmla="*/ 49 w 2266"/>
              <a:gd name="T77" fmla="*/ 588 h 700"/>
              <a:gd name="T78" fmla="*/ 112 w 2266"/>
              <a:gd name="T79" fmla="*/ 492 h 700"/>
              <a:gd name="T80" fmla="*/ 207 w 2266"/>
              <a:gd name="T81" fmla="*/ 555 h 700"/>
              <a:gd name="T82" fmla="*/ 145 w 2266"/>
              <a:gd name="T83" fmla="*/ 651 h 700"/>
              <a:gd name="T84" fmla="*/ 627 w 2266"/>
              <a:gd name="T85" fmla="*/ 549 h 700"/>
              <a:gd name="T86" fmla="*/ 531 w 2266"/>
              <a:gd name="T87" fmla="*/ 486 h 700"/>
              <a:gd name="T88" fmla="*/ 593 w 2266"/>
              <a:gd name="T89" fmla="*/ 390 h 700"/>
              <a:gd name="T90" fmla="*/ 689 w 2266"/>
              <a:gd name="T91" fmla="*/ 452 h 700"/>
              <a:gd name="T92" fmla="*/ 627 w 2266"/>
              <a:gd name="T93" fmla="*/ 549 h 700"/>
              <a:gd name="T94" fmla="*/ 1118 w 2266"/>
              <a:gd name="T95" fmla="*/ 444 h 700"/>
              <a:gd name="T96" fmla="*/ 1022 w 2266"/>
              <a:gd name="T97" fmla="*/ 381 h 700"/>
              <a:gd name="T98" fmla="*/ 1084 w 2266"/>
              <a:gd name="T99" fmla="*/ 286 h 700"/>
              <a:gd name="T100" fmla="*/ 1180 w 2266"/>
              <a:gd name="T101" fmla="*/ 348 h 700"/>
              <a:gd name="T102" fmla="*/ 1118 w 2266"/>
              <a:gd name="T103" fmla="*/ 444 h 700"/>
              <a:gd name="T104" fmla="*/ 1615 w 2266"/>
              <a:gd name="T105" fmla="*/ 338 h 700"/>
              <a:gd name="T106" fmla="*/ 1520 w 2266"/>
              <a:gd name="T107" fmla="*/ 276 h 700"/>
              <a:gd name="T108" fmla="*/ 1582 w 2266"/>
              <a:gd name="T109" fmla="*/ 180 h 700"/>
              <a:gd name="T110" fmla="*/ 1677 w 2266"/>
              <a:gd name="T111" fmla="*/ 242 h 700"/>
              <a:gd name="T112" fmla="*/ 1615 w 2266"/>
              <a:gd name="T113" fmla="*/ 338 h 700"/>
              <a:gd name="T114" fmla="*/ 2064 w 2266"/>
              <a:gd name="T115" fmla="*/ 243 h 700"/>
              <a:gd name="T116" fmla="*/ 1969 w 2266"/>
              <a:gd name="T117" fmla="*/ 180 h 700"/>
              <a:gd name="T118" fmla="*/ 2031 w 2266"/>
              <a:gd name="T119" fmla="*/ 84 h 700"/>
              <a:gd name="T120" fmla="*/ 2126 w 2266"/>
              <a:gd name="T121" fmla="*/ 147 h 700"/>
              <a:gd name="T122" fmla="*/ 2064 w 2266"/>
              <a:gd name="T123" fmla="*/ 243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66" h="700">
                <a:moveTo>
                  <a:pt x="2151" y="219"/>
                </a:moveTo>
                <a:cubicBezTo>
                  <a:pt x="2163" y="195"/>
                  <a:pt x="2167" y="168"/>
                  <a:pt x="2161" y="139"/>
                </a:cubicBezTo>
                <a:cubicBezTo>
                  <a:pt x="2148" y="76"/>
                  <a:pt x="2086" y="36"/>
                  <a:pt x="2023" y="49"/>
                </a:cubicBezTo>
                <a:cubicBezTo>
                  <a:pt x="1988" y="56"/>
                  <a:pt x="1961" y="78"/>
                  <a:pt x="1945" y="107"/>
                </a:cubicBezTo>
                <a:cubicBezTo>
                  <a:pt x="1781" y="0"/>
                  <a:pt x="1781" y="0"/>
                  <a:pt x="1781" y="0"/>
                </a:cubicBezTo>
                <a:cubicBezTo>
                  <a:pt x="1672" y="169"/>
                  <a:pt x="1672" y="169"/>
                  <a:pt x="1672" y="169"/>
                </a:cubicBezTo>
                <a:cubicBezTo>
                  <a:pt x="1646" y="146"/>
                  <a:pt x="1610" y="137"/>
                  <a:pt x="1574" y="145"/>
                </a:cubicBezTo>
                <a:cubicBezTo>
                  <a:pt x="1517" y="157"/>
                  <a:pt x="1479" y="209"/>
                  <a:pt x="1482" y="265"/>
                </a:cubicBezTo>
                <a:cubicBezTo>
                  <a:pt x="1210" y="323"/>
                  <a:pt x="1210" y="323"/>
                  <a:pt x="1210" y="323"/>
                </a:cubicBezTo>
                <a:cubicBezTo>
                  <a:pt x="1190" y="270"/>
                  <a:pt x="1133" y="238"/>
                  <a:pt x="1077" y="250"/>
                </a:cubicBezTo>
                <a:cubicBezTo>
                  <a:pt x="1019" y="262"/>
                  <a:pt x="981" y="315"/>
                  <a:pt x="985" y="371"/>
                </a:cubicBezTo>
                <a:cubicBezTo>
                  <a:pt x="719" y="427"/>
                  <a:pt x="719" y="427"/>
                  <a:pt x="719" y="427"/>
                </a:cubicBezTo>
                <a:cubicBezTo>
                  <a:pt x="699" y="375"/>
                  <a:pt x="642" y="343"/>
                  <a:pt x="586" y="355"/>
                </a:cubicBezTo>
                <a:cubicBezTo>
                  <a:pt x="528" y="367"/>
                  <a:pt x="490" y="419"/>
                  <a:pt x="493" y="475"/>
                </a:cubicBezTo>
                <a:cubicBezTo>
                  <a:pt x="237" y="530"/>
                  <a:pt x="237" y="530"/>
                  <a:pt x="237" y="530"/>
                </a:cubicBezTo>
                <a:cubicBezTo>
                  <a:pt x="217" y="477"/>
                  <a:pt x="161" y="445"/>
                  <a:pt x="104" y="457"/>
                </a:cubicBezTo>
                <a:cubicBezTo>
                  <a:pt x="40" y="471"/>
                  <a:pt x="0" y="533"/>
                  <a:pt x="14" y="596"/>
                </a:cubicBezTo>
                <a:cubicBezTo>
                  <a:pt x="27" y="659"/>
                  <a:pt x="89" y="700"/>
                  <a:pt x="153" y="686"/>
                </a:cubicBezTo>
                <a:cubicBezTo>
                  <a:pt x="209" y="674"/>
                  <a:pt x="248" y="622"/>
                  <a:pt x="245" y="565"/>
                </a:cubicBezTo>
                <a:cubicBezTo>
                  <a:pt x="500" y="511"/>
                  <a:pt x="500" y="511"/>
                  <a:pt x="500" y="511"/>
                </a:cubicBezTo>
                <a:cubicBezTo>
                  <a:pt x="521" y="564"/>
                  <a:pt x="577" y="596"/>
                  <a:pt x="634" y="584"/>
                </a:cubicBezTo>
                <a:cubicBezTo>
                  <a:pt x="691" y="572"/>
                  <a:pt x="729" y="520"/>
                  <a:pt x="726" y="463"/>
                </a:cubicBezTo>
                <a:cubicBezTo>
                  <a:pt x="992" y="406"/>
                  <a:pt x="992" y="406"/>
                  <a:pt x="992" y="406"/>
                </a:cubicBezTo>
                <a:cubicBezTo>
                  <a:pt x="1012" y="459"/>
                  <a:pt x="1068" y="492"/>
                  <a:pt x="1125" y="480"/>
                </a:cubicBezTo>
                <a:cubicBezTo>
                  <a:pt x="1182" y="468"/>
                  <a:pt x="1220" y="415"/>
                  <a:pt x="1218" y="358"/>
                </a:cubicBezTo>
                <a:cubicBezTo>
                  <a:pt x="1490" y="301"/>
                  <a:pt x="1490" y="301"/>
                  <a:pt x="1490" y="301"/>
                </a:cubicBezTo>
                <a:cubicBezTo>
                  <a:pt x="1509" y="354"/>
                  <a:pt x="1566" y="386"/>
                  <a:pt x="1623" y="374"/>
                </a:cubicBezTo>
                <a:cubicBezTo>
                  <a:pt x="1686" y="360"/>
                  <a:pt x="1726" y="298"/>
                  <a:pt x="1712" y="235"/>
                </a:cubicBezTo>
                <a:cubicBezTo>
                  <a:pt x="1709" y="221"/>
                  <a:pt x="1704" y="208"/>
                  <a:pt x="1697" y="196"/>
                </a:cubicBezTo>
                <a:cubicBezTo>
                  <a:pt x="1792" y="50"/>
                  <a:pt x="1792" y="50"/>
                  <a:pt x="1792" y="50"/>
                </a:cubicBezTo>
                <a:cubicBezTo>
                  <a:pt x="1933" y="142"/>
                  <a:pt x="1933" y="142"/>
                  <a:pt x="1933" y="142"/>
                </a:cubicBezTo>
                <a:cubicBezTo>
                  <a:pt x="1930" y="157"/>
                  <a:pt x="1930" y="172"/>
                  <a:pt x="1933" y="188"/>
                </a:cubicBezTo>
                <a:cubicBezTo>
                  <a:pt x="1947" y="251"/>
                  <a:pt x="2009" y="292"/>
                  <a:pt x="2072" y="278"/>
                </a:cubicBezTo>
                <a:cubicBezTo>
                  <a:pt x="2094" y="274"/>
                  <a:pt x="2113" y="262"/>
                  <a:pt x="2128" y="248"/>
                </a:cubicBezTo>
                <a:cubicBezTo>
                  <a:pt x="2201" y="295"/>
                  <a:pt x="2242" y="322"/>
                  <a:pt x="2266" y="338"/>
                </a:cubicBezTo>
                <a:cubicBezTo>
                  <a:pt x="2266" y="294"/>
                  <a:pt x="2266" y="294"/>
                  <a:pt x="2266" y="294"/>
                </a:cubicBezTo>
                <a:cubicBezTo>
                  <a:pt x="2151" y="219"/>
                  <a:pt x="2151" y="219"/>
                  <a:pt x="2151" y="219"/>
                </a:cubicBezTo>
                <a:close/>
                <a:moveTo>
                  <a:pt x="145" y="651"/>
                </a:moveTo>
                <a:cubicBezTo>
                  <a:pt x="101" y="660"/>
                  <a:pt x="58" y="632"/>
                  <a:pt x="49" y="588"/>
                </a:cubicBezTo>
                <a:cubicBezTo>
                  <a:pt x="40" y="545"/>
                  <a:pt x="67" y="502"/>
                  <a:pt x="112" y="492"/>
                </a:cubicBezTo>
                <a:cubicBezTo>
                  <a:pt x="155" y="483"/>
                  <a:pt x="198" y="511"/>
                  <a:pt x="207" y="555"/>
                </a:cubicBezTo>
                <a:cubicBezTo>
                  <a:pt x="216" y="598"/>
                  <a:pt x="189" y="642"/>
                  <a:pt x="145" y="651"/>
                </a:cubicBezTo>
                <a:close/>
                <a:moveTo>
                  <a:pt x="627" y="549"/>
                </a:moveTo>
                <a:cubicBezTo>
                  <a:pt x="583" y="558"/>
                  <a:pt x="540" y="529"/>
                  <a:pt x="531" y="486"/>
                </a:cubicBezTo>
                <a:cubicBezTo>
                  <a:pt x="521" y="442"/>
                  <a:pt x="550" y="399"/>
                  <a:pt x="593" y="390"/>
                </a:cubicBezTo>
                <a:cubicBezTo>
                  <a:pt x="637" y="381"/>
                  <a:pt x="679" y="409"/>
                  <a:pt x="689" y="452"/>
                </a:cubicBezTo>
                <a:cubicBezTo>
                  <a:pt x="698" y="496"/>
                  <a:pt x="670" y="539"/>
                  <a:pt x="627" y="549"/>
                </a:cubicBezTo>
                <a:close/>
                <a:moveTo>
                  <a:pt x="1118" y="444"/>
                </a:moveTo>
                <a:cubicBezTo>
                  <a:pt x="1075" y="453"/>
                  <a:pt x="1031" y="425"/>
                  <a:pt x="1022" y="381"/>
                </a:cubicBezTo>
                <a:cubicBezTo>
                  <a:pt x="1012" y="338"/>
                  <a:pt x="1041" y="295"/>
                  <a:pt x="1084" y="286"/>
                </a:cubicBezTo>
                <a:cubicBezTo>
                  <a:pt x="1128" y="276"/>
                  <a:pt x="1170" y="304"/>
                  <a:pt x="1180" y="348"/>
                </a:cubicBezTo>
                <a:cubicBezTo>
                  <a:pt x="1189" y="391"/>
                  <a:pt x="1161" y="435"/>
                  <a:pt x="1118" y="444"/>
                </a:cubicBezTo>
                <a:close/>
                <a:moveTo>
                  <a:pt x="1615" y="338"/>
                </a:moveTo>
                <a:cubicBezTo>
                  <a:pt x="1572" y="348"/>
                  <a:pt x="1529" y="319"/>
                  <a:pt x="1520" y="276"/>
                </a:cubicBezTo>
                <a:cubicBezTo>
                  <a:pt x="1510" y="232"/>
                  <a:pt x="1538" y="189"/>
                  <a:pt x="1582" y="180"/>
                </a:cubicBezTo>
                <a:cubicBezTo>
                  <a:pt x="1625" y="171"/>
                  <a:pt x="1668" y="199"/>
                  <a:pt x="1677" y="242"/>
                </a:cubicBezTo>
                <a:cubicBezTo>
                  <a:pt x="1686" y="286"/>
                  <a:pt x="1659" y="329"/>
                  <a:pt x="1615" y="338"/>
                </a:cubicBezTo>
                <a:close/>
                <a:moveTo>
                  <a:pt x="2064" y="243"/>
                </a:moveTo>
                <a:cubicBezTo>
                  <a:pt x="2021" y="252"/>
                  <a:pt x="1978" y="224"/>
                  <a:pt x="1969" y="180"/>
                </a:cubicBezTo>
                <a:cubicBezTo>
                  <a:pt x="1959" y="137"/>
                  <a:pt x="1987" y="94"/>
                  <a:pt x="2031" y="84"/>
                </a:cubicBezTo>
                <a:cubicBezTo>
                  <a:pt x="2074" y="75"/>
                  <a:pt x="2117" y="103"/>
                  <a:pt x="2126" y="147"/>
                </a:cubicBezTo>
                <a:cubicBezTo>
                  <a:pt x="2135" y="190"/>
                  <a:pt x="2108" y="234"/>
                  <a:pt x="2064" y="2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28000" y="6215560"/>
            <a:ext cx="935688" cy="360000"/>
          </a:xfrm>
        </p:spPr>
        <p:txBody>
          <a:bodyPr/>
          <a:lstStyle/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979712" y="6214350"/>
            <a:ext cx="4140287" cy="360000"/>
          </a:xfrm>
        </p:spPr>
        <p:txBody>
          <a:bodyPr/>
          <a:lstStyle/>
          <a:p>
            <a:endParaRPr lang="da-DK" noProof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978053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4210" y="3506348"/>
            <a:ext cx="6730078" cy="720080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4000" cap="all" baseline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40775" y="4235952"/>
            <a:ext cx="6696744" cy="1440160"/>
          </a:xfrm>
        </p:spPr>
        <p:txBody>
          <a:bodyPr>
            <a:normAutofit/>
          </a:bodyPr>
          <a:lstStyle>
            <a:lvl1pPr marL="0" indent="0" algn="l">
              <a:lnSpc>
                <a:spcPts val="3200"/>
              </a:lnSpc>
              <a:buNone/>
              <a:defRPr sz="3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C8C93-2E68-4661-B185-308E85796B91}" type="datetimeFigureOut">
              <a:rPr lang="da-DK" smtClean="0">
                <a:solidFill>
                  <a:prstClr val="black"/>
                </a:solidFill>
              </a:rPr>
              <a:pPr/>
              <a:t>14-04-2015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>
              <a:solidFill>
                <a:prstClr val="black"/>
              </a:solidFill>
            </a:endParaRPr>
          </a:p>
        </p:txBody>
      </p:sp>
      <p:grpSp>
        <p:nvGrpSpPr>
          <p:cNvPr id="7" name="KombitShape"/>
          <p:cNvGrpSpPr/>
          <p:nvPr/>
        </p:nvGrpSpPr>
        <p:grpSpPr>
          <a:xfrm>
            <a:off x="2117378" y="-143168"/>
            <a:ext cx="7637386" cy="4618506"/>
            <a:chOff x="2117378" y="-143168"/>
            <a:chExt cx="7637386" cy="4618506"/>
          </a:xfrm>
        </p:grpSpPr>
        <p:sp>
          <p:nvSpPr>
            <p:cNvPr id="21" name="Krans 3"/>
            <p:cNvSpPr>
              <a:spLocks noChangeAspect="1"/>
            </p:cNvSpPr>
            <p:nvPr/>
          </p:nvSpPr>
          <p:spPr>
            <a:xfrm>
              <a:off x="2117378" y="-143168"/>
              <a:ext cx="4176000" cy="2088000"/>
            </a:xfrm>
            <a:custGeom>
              <a:avLst/>
              <a:gdLst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2088000 h 4176000"/>
                <a:gd name="connsiteX1" fmla="*/ 2088000 w 4176000"/>
                <a:gd name="connsiteY1" fmla="*/ 0 h 4176000"/>
                <a:gd name="connsiteX2" fmla="*/ 4176000 w 4176000"/>
                <a:gd name="connsiteY2" fmla="*/ 2088000 h 4176000"/>
                <a:gd name="connsiteX3" fmla="*/ 2088000 w 4176000"/>
                <a:gd name="connsiteY3" fmla="*/ 4176000 h 4176000"/>
                <a:gd name="connsiteX4" fmla="*/ 0 w 4176000"/>
                <a:gd name="connsiteY4" fmla="*/ 2088000 h 4176000"/>
                <a:gd name="connsiteX5" fmla="*/ 651122 w 4176000"/>
                <a:gd name="connsiteY5" fmla="*/ 2088000 h 4176000"/>
                <a:gd name="connsiteX6" fmla="*/ 2088000 w 4176000"/>
                <a:gd name="connsiteY6" fmla="*/ 3524878 h 4176000"/>
                <a:gd name="connsiteX7" fmla="*/ 3524878 w 4176000"/>
                <a:gd name="connsiteY7" fmla="*/ 2088000 h 4176000"/>
                <a:gd name="connsiteX8" fmla="*/ 2088000 w 4176000"/>
                <a:gd name="connsiteY8" fmla="*/ 651122 h 4176000"/>
                <a:gd name="connsiteX9" fmla="*/ 651122 w 4176000"/>
                <a:gd name="connsiteY9" fmla="*/ 2088000 h 4176000"/>
                <a:gd name="connsiteX0" fmla="*/ 0 w 4176000"/>
                <a:gd name="connsiteY0" fmla="*/ 1436878 h 3524878"/>
                <a:gd name="connsiteX1" fmla="*/ 2002275 w 4176000"/>
                <a:gd name="connsiteY1" fmla="*/ 682378 h 3524878"/>
                <a:gd name="connsiteX2" fmla="*/ 4176000 w 4176000"/>
                <a:gd name="connsiteY2" fmla="*/ 1436878 h 3524878"/>
                <a:gd name="connsiteX3" fmla="*/ 2088000 w 4176000"/>
                <a:gd name="connsiteY3" fmla="*/ 3524878 h 3524878"/>
                <a:gd name="connsiteX4" fmla="*/ 0 w 4176000"/>
                <a:gd name="connsiteY4" fmla="*/ 1436878 h 3524878"/>
                <a:gd name="connsiteX5" fmla="*/ 651122 w 4176000"/>
                <a:gd name="connsiteY5" fmla="*/ 1436878 h 3524878"/>
                <a:gd name="connsiteX6" fmla="*/ 2088000 w 4176000"/>
                <a:gd name="connsiteY6" fmla="*/ 2873756 h 3524878"/>
                <a:gd name="connsiteX7" fmla="*/ 3524878 w 4176000"/>
                <a:gd name="connsiteY7" fmla="*/ 1436878 h 3524878"/>
                <a:gd name="connsiteX8" fmla="*/ 2088000 w 4176000"/>
                <a:gd name="connsiteY8" fmla="*/ 0 h 3524878"/>
                <a:gd name="connsiteX9" fmla="*/ 651122 w 4176000"/>
                <a:gd name="connsiteY9" fmla="*/ 1436878 h 3524878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2154675 w 4176000"/>
                <a:gd name="connsiteY8" fmla="*/ 664541 h 2903544"/>
                <a:gd name="connsiteX9" fmla="*/ 651122 w 4176000"/>
                <a:gd name="connsiteY9" fmla="*/ 815544 h 2903544"/>
                <a:gd name="connsiteX0" fmla="*/ 0 w 4176000"/>
                <a:gd name="connsiteY0" fmla="*/ 815544 h 2903544"/>
                <a:gd name="connsiteX1" fmla="*/ 2002275 w 4176000"/>
                <a:gd name="connsiteY1" fmla="*/ 61044 h 2903544"/>
                <a:gd name="connsiteX2" fmla="*/ 4176000 w 4176000"/>
                <a:gd name="connsiteY2" fmla="*/ 815544 h 2903544"/>
                <a:gd name="connsiteX3" fmla="*/ 2088000 w 4176000"/>
                <a:gd name="connsiteY3" fmla="*/ 2903544 h 2903544"/>
                <a:gd name="connsiteX4" fmla="*/ 0 w 4176000"/>
                <a:gd name="connsiteY4" fmla="*/ 815544 h 2903544"/>
                <a:gd name="connsiteX5" fmla="*/ 651122 w 4176000"/>
                <a:gd name="connsiteY5" fmla="*/ 815544 h 2903544"/>
                <a:gd name="connsiteX6" fmla="*/ 2088000 w 4176000"/>
                <a:gd name="connsiteY6" fmla="*/ 2252422 h 2903544"/>
                <a:gd name="connsiteX7" fmla="*/ 3524878 w 4176000"/>
                <a:gd name="connsiteY7" fmla="*/ 815544 h 2903544"/>
                <a:gd name="connsiteX8" fmla="*/ 651122 w 4176000"/>
                <a:gd name="connsiteY8" fmla="*/ 815544 h 2903544"/>
                <a:gd name="connsiteX0" fmla="*/ 0 w 4176000"/>
                <a:gd name="connsiteY0" fmla="*/ 754500 h 2842500"/>
                <a:gd name="connsiteX1" fmla="*/ 2002275 w 4176000"/>
                <a:gd name="connsiteY1" fmla="*/ 0 h 2842500"/>
                <a:gd name="connsiteX2" fmla="*/ 4176000 w 4176000"/>
                <a:gd name="connsiteY2" fmla="*/ 754500 h 2842500"/>
                <a:gd name="connsiteX3" fmla="*/ 2088000 w 4176000"/>
                <a:gd name="connsiteY3" fmla="*/ 2842500 h 2842500"/>
                <a:gd name="connsiteX4" fmla="*/ 0 w 4176000"/>
                <a:gd name="connsiteY4" fmla="*/ 75450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0 w 4176000"/>
                <a:gd name="connsiteY0" fmla="*/ 754500 h 2842500"/>
                <a:gd name="connsiteX1" fmla="*/ 2002275 w 4176000"/>
                <a:gd name="connsiteY1" fmla="*/ 0 h 2842500"/>
                <a:gd name="connsiteX2" fmla="*/ 4176000 w 4176000"/>
                <a:gd name="connsiteY2" fmla="*/ 754500 h 2842500"/>
                <a:gd name="connsiteX3" fmla="*/ 2088000 w 4176000"/>
                <a:gd name="connsiteY3" fmla="*/ 2842500 h 2842500"/>
                <a:gd name="connsiteX4" fmla="*/ 0 w 4176000"/>
                <a:gd name="connsiteY4" fmla="*/ 75450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2002275 w 4176000"/>
                <a:gd name="connsiteY0" fmla="*/ 0 h 2842500"/>
                <a:gd name="connsiteX1" fmla="*/ 4176000 w 4176000"/>
                <a:gd name="connsiteY1" fmla="*/ 754500 h 2842500"/>
                <a:gd name="connsiteX2" fmla="*/ 2088000 w 4176000"/>
                <a:gd name="connsiteY2" fmla="*/ 2842500 h 2842500"/>
                <a:gd name="connsiteX3" fmla="*/ 0 w 4176000"/>
                <a:gd name="connsiteY3" fmla="*/ 754500 h 2842500"/>
                <a:gd name="connsiteX4" fmla="*/ 651122 w 4176000"/>
                <a:gd name="connsiteY4" fmla="*/ 754500 h 2842500"/>
                <a:gd name="connsiteX5" fmla="*/ 2088000 w 4176000"/>
                <a:gd name="connsiteY5" fmla="*/ 2191378 h 2842500"/>
                <a:gd name="connsiteX6" fmla="*/ 3524878 w 4176000"/>
                <a:gd name="connsiteY6" fmla="*/ 754500 h 2842500"/>
                <a:gd name="connsiteX7" fmla="*/ 651122 w 4176000"/>
                <a:gd name="connsiteY7" fmla="*/ 754500 h 2842500"/>
                <a:gd name="connsiteX8" fmla="*/ 2093715 w 4176000"/>
                <a:gd name="connsiteY8" fmla="*/ 91440 h 2842500"/>
                <a:gd name="connsiteX0" fmla="*/ 2002275 w 4176000"/>
                <a:gd name="connsiteY0" fmla="*/ 0 h 2842500"/>
                <a:gd name="connsiteX1" fmla="*/ 4176000 w 4176000"/>
                <a:gd name="connsiteY1" fmla="*/ 754500 h 2842500"/>
                <a:gd name="connsiteX2" fmla="*/ 2088000 w 4176000"/>
                <a:gd name="connsiteY2" fmla="*/ 2842500 h 2842500"/>
                <a:gd name="connsiteX3" fmla="*/ 0 w 4176000"/>
                <a:gd name="connsiteY3" fmla="*/ 754500 h 2842500"/>
                <a:gd name="connsiteX4" fmla="*/ 2002275 w 4176000"/>
                <a:gd name="connsiteY4" fmla="*/ 0 h 2842500"/>
                <a:gd name="connsiteX5" fmla="*/ 651122 w 4176000"/>
                <a:gd name="connsiteY5" fmla="*/ 754500 h 2842500"/>
                <a:gd name="connsiteX6" fmla="*/ 2088000 w 4176000"/>
                <a:gd name="connsiteY6" fmla="*/ 2191378 h 2842500"/>
                <a:gd name="connsiteX7" fmla="*/ 3524878 w 4176000"/>
                <a:gd name="connsiteY7" fmla="*/ 754500 h 2842500"/>
                <a:gd name="connsiteX8" fmla="*/ 651122 w 4176000"/>
                <a:gd name="connsiteY8" fmla="*/ 754500 h 2842500"/>
                <a:gd name="connsiteX0" fmla="*/ 0 w 4176000"/>
                <a:gd name="connsiteY0" fmla="*/ 0 h 2088000"/>
                <a:gd name="connsiteX1" fmla="*/ 4176000 w 4176000"/>
                <a:gd name="connsiteY1" fmla="*/ 0 h 2088000"/>
                <a:gd name="connsiteX2" fmla="*/ 2088000 w 4176000"/>
                <a:gd name="connsiteY2" fmla="*/ 2088000 h 2088000"/>
                <a:gd name="connsiteX3" fmla="*/ 0 w 4176000"/>
                <a:gd name="connsiteY3" fmla="*/ 0 h 2088000"/>
                <a:gd name="connsiteX4" fmla="*/ 651122 w 4176000"/>
                <a:gd name="connsiteY4" fmla="*/ 0 h 2088000"/>
                <a:gd name="connsiteX5" fmla="*/ 2088000 w 4176000"/>
                <a:gd name="connsiteY5" fmla="*/ 1436878 h 2088000"/>
                <a:gd name="connsiteX6" fmla="*/ 3524878 w 4176000"/>
                <a:gd name="connsiteY6" fmla="*/ 0 h 2088000"/>
                <a:gd name="connsiteX7" fmla="*/ 651122 w 4176000"/>
                <a:gd name="connsiteY7" fmla="*/ 0 h 2088000"/>
                <a:gd name="connsiteX0" fmla="*/ 0 w 4176000"/>
                <a:gd name="connsiteY0" fmla="*/ 102610 h 2190610"/>
                <a:gd name="connsiteX1" fmla="*/ 4176000 w 4176000"/>
                <a:gd name="connsiteY1" fmla="*/ 102610 h 2190610"/>
                <a:gd name="connsiteX2" fmla="*/ 2088000 w 4176000"/>
                <a:gd name="connsiteY2" fmla="*/ 2190610 h 2190610"/>
                <a:gd name="connsiteX3" fmla="*/ 0 w 4176000"/>
                <a:gd name="connsiteY3" fmla="*/ 102610 h 2190610"/>
                <a:gd name="connsiteX4" fmla="*/ 651122 w 4176000"/>
                <a:gd name="connsiteY4" fmla="*/ 102610 h 2190610"/>
                <a:gd name="connsiteX5" fmla="*/ 2088000 w 4176000"/>
                <a:gd name="connsiteY5" fmla="*/ 1539488 h 2190610"/>
                <a:gd name="connsiteX6" fmla="*/ 3524878 w 4176000"/>
                <a:gd name="connsiteY6" fmla="*/ 102610 h 2190610"/>
                <a:gd name="connsiteX7" fmla="*/ 651122 w 4176000"/>
                <a:gd name="connsiteY7" fmla="*/ 102610 h 2190610"/>
                <a:gd name="connsiteX0" fmla="*/ 0 w 4176000"/>
                <a:gd name="connsiteY0" fmla="*/ 203120 h 2291120"/>
                <a:gd name="connsiteX1" fmla="*/ 4176000 w 4176000"/>
                <a:gd name="connsiteY1" fmla="*/ 203120 h 2291120"/>
                <a:gd name="connsiteX2" fmla="*/ 2088000 w 4176000"/>
                <a:gd name="connsiteY2" fmla="*/ 2291120 h 2291120"/>
                <a:gd name="connsiteX3" fmla="*/ 0 w 4176000"/>
                <a:gd name="connsiteY3" fmla="*/ 203120 h 2291120"/>
                <a:gd name="connsiteX4" fmla="*/ 651122 w 4176000"/>
                <a:gd name="connsiteY4" fmla="*/ 203120 h 2291120"/>
                <a:gd name="connsiteX5" fmla="*/ 2088000 w 4176000"/>
                <a:gd name="connsiteY5" fmla="*/ 1639998 h 2291120"/>
                <a:gd name="connsiteX6" fmla="*/ 3524878 w 4176000"/>
                <a:gd name="connsiteY6" fmla="*/ 203120 h 2291120"/>
                <a:gd name="connsiteX7" fmla="*/ 1165472 w 4176000"/>
                <a:gd name="connsiteY7" fmla="*/ 79295 h 2291120"/>
                <a:gd name="connsiteX0" fmla="*/ 0 w 4176000"/>
                <a:gd name="connsiteY0" fmla="*/ 417095 h 2505095"/>
                <a:gd name="connsiteX1" fmla="*/ 4176000 w 4176000"/>
                <a:gd name="connsiteY1" fmla="*/ 417095 h 2505095"/>
                <a:gd name="connsiteX2" fmla="*/ 2088000 w 4176000"/>
                <a:gd name="connsiteY2" fmla="*/ 2505095 h 2505095"/>
                <a:gd name="connsiteX3" fmla="*/ 0 w 4176000"/>
                <a:gd name="connsiteY3" fmla="*/ 417095 h 2505095"/>
                <a:gd name="connsiteX4" fmla="*/ 651122 w 4176000"/>
                <a:gd name="connsiteY4" fmla="*/ 417095 h 2505095"/>
                <a:gd name="connsiteX5" fmla="*/ 2088000 w 4176000"/>
                <a:gd name="connsiteY5" fmla="*/ 1853973 h 2505095"/>
                <a:gd name="connsiteX6" fmla="*/ 3524878 w 4176000"/>
                <a:gd name="connsiteY6" fmla="*/ 417095 h 2505095"/>
                <a:gd name="connsiteX7" fmla="*/ 1232147 w 4176000"/>
                <a:gd name="connsiteY7" fmla="*/ 55145 h 2505095"/>
                <a:gd name="connsiteX0" fmla="*/ 0 w 4176000"/>
                <a:gd name="connsiteY0" fmla="*/ 0 h 2088000"/>
                <a:gd name="connsiteX1" fmla="*/ 4176000 w 4176000"/>
                <a:gd name="connsiteY1" fmla="*/ 0 h 2088000"/>
                <a:gd name="connsiteX2" fmla="*/ 2088000 w 4176000"/>
                <a:gd name="connsiteY2" fmla="*/ 2088000 h 2088000"/>
                <a:gd name="connsiteX3" fmla="*/ 0 w 4176000"/>
                <a:gd name="connsiteY3" fmla="*/ 0 h 2088000"/>
                <a:gd name="connsiteX4" fmla="*/ 651122 w 4176000"/>
                <a:gd name="connsiteY4" fmla="*/ 0 h 2088000"/>
                <a:gd name="connsiteX5" fmla="*/ 2088000 w 4176000"/>
                <a:gd name="connsiteY5" fmla="*/ 1436878 h 2088000"/>
                <a:gd name="connsiteX6" fmla="*/ 3524878 w 4176000"/>
                <a:gd name="connsiteY6" fmla="*/ 0 h 208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76000" h="2088000">
                  <a:moveTo>
                    <a:pt x="0" y="0"/>
                  </a:moveTo>
                  <a:lnTo>
                    <a:pt x="4176000" y="0"/>
                  </a:lnTo>
                  <a:cubicBezTo>
                    <a:pt x="4176000" y="1153171"/>
                    <a:pt x="3241171" y="2088000"/>
                    <a:pt x="2088000" y="2088000"/>
                  </a:cubicBezTo>
                  <a:cubicBezTo>
                    <a:pt x="934829" y="2088000"/>
                    <a:pt x="0" y="1153171"/>
                    <a:pt x="0" y="0"/>
                  </a:cubicBezTo>
                  <a:close/>
                  <a:moveTo>
                    <a:pt x="651122" y="0"/>
                  </a:moveTo>
                  <a:cubicBezTo>
                    <a:pt x="651122" y="793566"/>
                    <a:pt x="1294434" y="1436878"/>
                    <a:pt x="2088000" y="1436878"/>
                  </a:cubicBezTo>
                  <a:cubicBezTo>
                    <a:pt x="2881566" y="1436878"/>
                    <a:pt x="3524878" y="793566"/>
                    <a:pt x="3524878" y="0"/>
                  </a:cubicBezTo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prstClr val="black"/>
                </a:solidFill>
              </a:endParaRPr>
            </a:p>
          </p:txBody>
        </p:sp>
        <p:sp>
          <p:nvSpPr>
            <p:cNvPr id="22" name="Rektangel 21"/>
            <p:cNvSpPr/>
            <p:nvPr/>
          </p:nvSpPr>
          <p:spPr>
            <a:xfrm rot="2700000">
              <a:off x="4950278" y="2329983"/>
              <a:ext cx="3640764" cy="64994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3" name="Rektangel 22"/>
            <p:cNvSpPr/>
            <p:nvPr/>
          </p:nvSpPr>
          <p:spPr>
            <a:xfrm rot="18900000">
              <a:off x="7227345" y="2723296"/>
              <a:ext cx="2527419" cy="652096"/>
            </a:xfrm>
            <a:custGeom>
              <a:avLst/>
              <a:gdLst>
                <a:gd name="connsiteX0" fmla="*/ 0 w 2527419"/>
                <a:gd name="connsiteY0" fmla="*/ 0 h 649946"/>
                <a:gd name="connsiteX1" fmla="*/ 2527419 w 2527419"/>
                <a:gd name="connsiteY1" fmla="*/ 0 h 649946"/>
                <a:gd name="connsiteX2" fmla="*/ 2527419 w 2527419"/>
                <a:gd name="connsiteY2" fmla="*/ 649946 h 649946"/>
                <a:gd name="connsiteX3" fmla="*/ 0 w 2527419"/>
                <a:gd name="connsiteY3" fmla="*/ 649946 h 649946"/>
                <a:gd name="connsiteX4" fmla="*/ 0 w 2527419"/>
                <a:gd name="connsiteY4" fmla="*/ 0 h 649946"/>
                <a:gd name="connsiteX0" fmla="*/ 0 w 2527419"/>
                <a:gd name="connsiteY0" fmla="*/ 0 h 652096"/>
                <a:gd name="connsiteX1" fmla="*/ 2527419 w 2527419"/>
                <a:gd name="connsiteY1" fmla="*/ 0 h 652096"/>
                <a:gd name="connsiteX2" fmla="*/ 2527419 w 2527419"/>
                <a:gd name="connsiteY2" fmla="*/ 649946 h 652096"/>
                <a:gd name="connsiteX3" fmla="*/ 1893395 w 2527419"/>
                <a:gd name="connsiteY3" fmla="*/ 652096 h 652096"/>
                <a:gd name="connsiteX4" fmla="*/ 0 w 2527419"/>
                <a:gd name="connsiteY4" fmla="*/ 649946 h 652096"/>
                <a:gd name="connsiteX5" fmla="*/ 0 w 2527419"/>
                <a:gd name="connsiteY5" fmla="*/ 0 h 652096"/>
                <a:gd name="connsiteX0" fmla="*/ 0 w 2527419"/>
                <a:gd name="connsiteY0" fmla="*/ 0 h 652096"/>
                <a:gd name="connsiteX1" fmla="*/ 2527419 w 2527419"/>
                <a:gd name="connsiteY1" fmla="*/ 0 h 652096"/>
                <a:gd name="connsiteX2" fmla="*/ 1893395 w 2527419"/>
                <a:gd name="connsiteY2" fmla="*/ 652096 h 652096"/>
                <a:gd name="connsiteX3" fmla="*/ 0 w 2527419"/>
                <a:gd name="connsiteY3" fmla="*/ 649946 h 652096"/>
                <a:gd name="connsiteX4" fmla="*/ 0 w 2527419"/>
                <a:gd name="connsiteY4" fmla="*/ 0 h 65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7419" h="652096">
                  <a:moveTo>
                    <a:pt x="0" y="0"/>
                  </a:moveTo>
                  <a:lnTo>
                    <a:pt x="2527419" y="0"/>
                  </a:lnTo>
                  <a:lnTo>
                    <a:pt x="1893395" y="652096"/>
                  </a:lnTo>
                  <a:lnTo>
                    <a:pt x="0" y="6499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93597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28000" y="6215560"/>
            <a:ext cx="935688" cy="360000"/>
          </a:xfrm>
        </p:spPr>
        <p:txBody>
          <a:bodyPr/>
          <a:lstStyle/>
          <a:p>
            <a:r>
              <a:rPr lang="da-DK" dirty="0" smtClean="0">
                <a:solidFill>
                  <a:prstClr val="black"/>
                </a:solidFill>
              </a:rPr>
              <a:t>Praksys.dk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979712" y="6214350"/>
            <a:ext cx="4140287" cy="360000"/>
          </a:xfrm>
        </p:spPr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9906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5999142"/>
            <a:ext cx="1512000" cy="530964"/>
          </a:xfrm>
          <a:prstGeom prst="rect">
            <a:avLst/>
          </a:prstGeom>
        </p:spPr>
      </p:pic>
      <p:sp>
        <p:nvSpPr>
          <p:cNvPr id="8" name="Freeform 12"/>
          <p:cNvSpPr>
            <a:spLocks noEditPoints="1"/>
          </p:cNvSpPr>
          <p:nvPr userDrawn="1"/>
        </p:nvSpPr>
        <p:spPr bwMode="auto">
          <a:xfrm>
            <a:off x="1954026" y="964377"/>
            <a:ext cx="7194211" cy="2223323"/>
          </a:xfrm>
          <a:custGeom>
            <a:avLst/>
            <a:gdLst>
              <a:gd name="T0" fmla="*/ 2151 w 2266"/>
              <a:gd name="T1" fmla="*/ 219 h 700"/>
              <a:gd name="T2" fmla="*/ 2161 w 2266"/>
              <a:gd name="T3" fmla="*/ 139 h 700"/>
              <a:gd name="T4" fmla="*/ 2023 w 2266"/>
              <a:gd name="T5" fmla="*/ 49 h 700"/>
              <a:gd name="T6" fmla="*/ 1945 w 2266"/>
              <a:gd name="T7" fmla="*/ 107 h 700"/>
              <a:gd name="T8" fmla="*/ 1781 w 2266"/>
              <a:gd name="T9" fmla="*/ 0 h 700"/>
              <a:gd name="T10" fmla="*/ 1672 w 2266"/>
              <a:gd name="T11" fmla="*/ 169 h 700"/>
              <a:gd name="T12" fmla="*/ 1574 w 2266"/>
              <a:gd name="T13" fmla="*/ 145 h 700"/>
              <a:gd name="T14" fmla="*/ 1482 w 2266"/>
              <a:gd name="T15" fmla="*/ 265 h 700"/>
              <a:gd name="T16" fmla="*/ 1210 w 2266"/>
              <a:gd name="T17" fmla="*/ 323 h 700"/>
              <a:gd name="T18" fmla="*/ 1077 w 2266"/>
              <a:gd name="T19" fmla="*/ 250 h 700"/>
              <a:gd name="T20" fmla="*/ 985 w 2266"/>
              <a:gd name="T21" fmla="*/ 371 h 700"/>
              <a:gd name="T22" fmla="*/ 719 w 2266"/>
              <a:gd name="T23" fmla="*/ 427 h 700"/>
              <a:gd name="T24" fmla="*/ 586 w 2266"/>
              <a:gd name="T25" fmla="*/ 355 h 700"/>
              <a:gd name="T26" fmla="*/ 493 w 2266"/>
              <a:gd name="T27" fmla="*/ 475 h 700"/>
              <a:gd name="T28" fmla="*/ 237 w 2266"/>
              <a:gd name="T29" fmla="*/ 530 h 700"/>
              <a:gd name="T30" fmla="*/ 104 w 2266"/>
              <a:gd name="T31" fmla="*/ 457 h 700"/>
              <a:gd name="T32" fmla="*/ 14 w 2266"/>
              <a:gd name="T33" fmla="*/ 596 h 700"/>
              <a:gd name="T34" fmla="*/ 153 w 2266"/>
              <a:gd name="T35" fmla="*/ 686 h 700"/>
              <a:gd name="T36" fmla="*/ 245 w 2266"/>
              <a:gd name="T37" fmla="*/ 565 h 700"/>
              <a:gd name="T38" fmla="*/ 500 w 2266"/>
              <a:gd name="T39" fmla="*/ 511 h 700"/>
              <a:gd name="T40" fmla="*/ 634 w 2266"/>
              <a:gd name="T41" fmla="*/ 584 h 700"/>
              <a:gd name="T42" fmla="*/ 726 w 2266"/>
              <a:gd name="T43" fmla="*/ 463 h 700"/>
              <a:gd name="T44" fmla="*/ 992 w 2266"/>
              <a:gd name="T45" fmla="*/ 406 h 700"/>
              <a:gd name="T46" fmla="*/ 1125 w 2266"/>
              <a:gd name="T47" fmla="*/ 480 h 700"/>
              <a:gd name="T48" fmla="*/ 1218 w 2266"/>
              <a:gd name="T49" fmla="*/ 358 h 700"/>
              <a:gd name="T50" fmla="*/ 1490 w 2266"/>
              <a:gd name="T51" fmla="*/ 301 h 700"/>
              <a:gd name="T52" fmla="*/ 1623 w 2266"/>
              <a:gd name="T53" fmla="*/ 374 h 700"/>
              <a:gd name="T54" fmla="*/ 1712 w 2266"/>
              <a:gd name="T55" fmla="*/ 235 h 700"/>
              <a:gd name="T56" fmla="*/ 1697 w 2266"/>
              <a:gd name="T57" fmla="*/ 196 h 700"/>
              <a:gd name="T58" fmla="*/ 1792 w 2266"/>
              <a:gd name="T59" fmla="*/ 50 h 700"/>
              <a:gd name="T60" fmla="*/ 1933 w 2266"/>
              <a:gd name="T61" fmla="*/ 142 h 700"/>
              <a:gd name="T62" fmla="*/ 1933 w 2266"/>
              <a:gd name="T63" fmla="*/ 188 h 700"/>
              <a:gd name="T64" fmla="*/ 2072 w 2266"/>
              <a:gd name="T65" fmla="*/ 278 h 700"/>
              <a:gd name="T66" fmla="*/ 2128 w 2266"/>
              <a:gd name="T67" fmla="*/ 248 h 700"/>
              <a:gd name="T68" fmla="*/ 2266 w 2266"/>
              <a:gd name="T69" fmla="*/ 338 h 700"/>
              <a:gd name="T70" fmla="*/ 2266 w 2266"/>
              <a:gd name="T71" fmla="*/ 294 h 700"/>
              <a:gd name="T72" fmla="*/ 2151 w 2266"/>
              <a:gd name="T73" fmla="*/ 219 h 700"/>
              <a:gd name="T74" fmla="*/ 145 w 2266"/>
              <a:gd name="T75" fmla="*/ 651 h 700"/>
              <a:gd name="T76" fmla="*/ 49 w 2266"/>
              <a:gd name="T77" fmla="*/ 588 h 700"/>
              <a:gd name="T78" fmla="*/ 112 w 2266"/>
              <a:gd name="T79" fmla="*/ 492 h 700"/>
              <a:gd name="T80" fmla="*/ 207 w 2266"/>
              <a:gd name="T81" fmla="*/ 555 h 700"/>
              <a:gd name="T82" fmla="*/ 145 w 2266"/>
              <a:gd name="T83" fmla="*/ 651 h 700"/>
              <a:gd name="T84" fmla="*/ 627 w 2266"/>
              <a:gd name="T85" fmla="*/ 549 h 700"/>
              <a:gd name="T86" fmla="*/ 531 w 2266"/>
              <a:gd name="T87" fmla="*/ 486 h 700"/>
              <a:gd name="T88" fmla="*/ 593 w 2266"/>
              <a:gd name="T89" fmla="*/ 390 h 700"/>
              <a:gd name="T90" fmla="*/ 689 w 2266"/>
              <a:gd name="T91" fmla="*/ 452 h 700"/>
              <a:gd name="T92" fmla="*/ 627 w 2266"/>
              <a:gd name="T93" fmla="*/ 549 h 700"/>
              <a:gd name="T94" fmla="*/ 1118 w 2266"/>
              <a:gd name="T95" fmla="*/ 444 h 700"/>
              <a:gd name="T96" fmla="*/ 1022 w 2266"/>
              <a:gd name="T97" fmla="*/ 381 h 700"/>
              <a:gd name="T98" fmla="*/ 1084 w 2266"/>
              <a:gd name="T99" fmla="*/ 286 h 700"/>
              <a:gd name="T100" fmla="*/ 1180 w 2266"/>
              <a:gd name="T101" fmla="*/ 348 h 700"/>
              <a:gd name="T102" fmla="*/ 1118 w 2266"/>
              <a:gd name="T103" fmla="*/ 444 h 700"/>
              <a:gd name="T104" fmla="*/ 1615 w 2266"/>
              <a:gd name="T105" fmla="*/ 338 h 700"/>
              <a:gd name="T106" fmla="*/ 1520 w 2266"/>
              <a:gd name="T107" fmla="*/ 276 h 700"/>
              <a:gd name="T108" fmla="*/ 1582 w 2266"/>
              <a:gd name="T109" fmla="*/ 180 h 700"/>
              <a:gd name="T110" fmla="*/ 1677 w 2266"/>
              <a:gd name="T111" fmla="*/ 242 h 700"/>
              <a:gd name="T112" fmla="*/ 1615 w 2266"/>
              <a:gd name="T113" fmla="*/ 338 h 700"/>
              <a:gd name="T114" fmla="*/ 2064 w 2266"/>
              <a:gd name="T115" fmla="*/ 243 h 700"/>
              <a:gd name="T116" fmla="*/ 1969 w 2266"/>
              <a:gd name="T117" fmla="*/ 180 h 700"/>
              <a:gd name="T118" fmla="*/ 2031 w 2266"/>
              <a:gd name="T119" fmla="*/ 84 h 700"/>
              <a:gd name="T120" fmla="*/ 2126 w 2266"/>
              <a:gd name="T121" fmla="*/ 147 h 700"/>
              <a:gd name="T122" fmla="*/ 2064 w 2266"/>
              <a:gd name="T123" fmla="*/ 243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66" h="700">
                <a:moveTo>
                  <a:pt x="2151" y="219"/>
                </a:moveTo>
                <a:cubicBezTo>
                  <a:pt x="2163" y="195"/>
                  <a:pt x="2167" y="168"/>
                  <a:pt x="2161" y="139"/>
                </a:cubicBezTo>
                <a:cubicBezTo>
                  <a:pt x="2148" y="76"/>
                  <a:pt x="2086" y="36"/>
                  <a:pt x="2023" y="49"/>
                </a:cubicBezTo>
                <a:cubicBezTo>
                  <a:pt x="1988" y="56"/>
                  <a:pt x="1961" y="78"/>
                  <a:pt x="1945" y="107"/>
                </a:cubicBezTo>
                <a:cubicBezTo>
                  <a:pt x="1781" y="0"/>
                  <a:pt x="1781" y="0"/>
                  <a:pt x="1781" y="0"/>
                </a:cubicBezTo>
                <a:cubicBezTo>
                  <a:pt x="1672" y="169"/>
                  <a:pt x="1672" y="169"/>
                  <a:pt x="1672" y="169"/>
                </a:cubicBezTo>
                <a:cubicBezTo>
                  <a:pt x="1646" y="146"/>
                  <a:pt x="1610" y="137"/>
                  <a:pt x="1574" y="145"/>
                </a:cubicBezTo>
                <a:cubicBezTo>
                  <a:pt x="1517" y="157"/>
                  <a:pt x="1479" y="209"/>
                  <a:pt x="1482" y="265"/>
                </a:cubicBezTo>
                <a:cubicBezTo>
                  <a:pt x="1210" y="323"/>
                  <a:pt x="1210" y="323"/>
                  <a:pt x="1210" y="323"/>
                </a:cubicBezTo>
                <a:cubicBezTo>
                  <a:pt x="1190" y="270"/>
                  <a:pt x="1133" y="238"/>
                  <a:pt x="1077" y="250"/>
                </a:cubicBezTo>
                <a:cubicBezTo>
                  <a:pt x="1019" y="262"/>
                  <a:pt x="981" y="315"/>
                  <a:pt x="985" y="371"/>
                </a:cubicBezTo>
                <a:cubicBezTo>
                  <a:pt x="719" y="427"/>
                  <a:pt x="719" y="427"/>
                  <a:pt x="719" y="427"/>
                </a:cubicBezTo>
                <a:cubicBezTo>
                  <a:pt x="699" y="375"/>
                  <a:pt x="642" y="343"/>
                  <a:pt x="586" y="355"/>
                </a:cubicBezTo>
                <a:cubicBezTo>
                  <a:pt x="528" y="367"/>
                  <a:pt x="490" y="419"/>
                  <a:pt x="493" y="475"/>
                </a:cubicBezTo>
                <a:cubicBezTo>
                  <a:pt x="237" y="530"/>
                  <a:pt x="237" y="530"/>
                  <a:pt x="237" y="530"/>
                </a:cubicBezTo>
                <a:cubicBezTo>
                  <a:pt x="217" y="477"/>
                  <a:pt x="161" y="445"/>
                  <a:pt x="104" y="457"/>
                </a:cubicBezTo>
                <a:cubicBezTo>
                  <a:pt x="40" y="471"/>
                  <a:pt x="0" y="533"/>
                  <a:pt x="14" y="596"/>
                </a:cubicBezTo>
                <a:cubicBezTo>
                  <a:pt x="27" y="659"/>
                  <a:pt x="89" y="700"/>
                  <a:pt x="153" y="686"/>
                </a:cubicBezTo>
                <a:cubicBezTo>
                  <a:pt x="209" y="674"/>
                  <a:pt x="248" y="622"/>
                  <a:pt x="245" y="565"/>
                </a:cubicBezTo>
                <a:cubicBezTo>
                  <a:pt x="500" y="511"/>
                  <a:pt x="500" y="511"/>
                  <a:pt x="500" y="511"/>
                </a:cubicBezTo>
                <a:cubicBezTo>
                  <a:pt x="521" y="564"/>
                  <a:pt x="577" y="596"/>
                  <a:pt x="634" y="584"/>
                </a:cubicBezTo>
                <a:cubicBezTo>
                  <a:pt x="691" y="572"/>
                  <a:pt x="729" y="520"/>
                  <a:pt x="726" y="463"/>
                </a:cubicBezTo>
                <a:cubicBezTo>
                  <a:pt x="992" y="406"/>
                  <a:pt x="992" y="406"/>
                  <a:pt x="992" y="406"/>
                </a:cubicBezTo>
                <a:cubicBezTo>
                  <a:pt x="1012" y="459"/>
                  <a:pt x="1068" y="492"/>
                  <a:pt x="1125" y="480"/>
                </a:cubicBezTo>
                <a:cubicBezTo>
                  <a:pt x="1182" y="468"/>
                  <a:pt x="1220" y="415"/>
                  <a:pt x="1218" y="358"/>
                </a:cubicBezTo>
                <a:cubicBezTo>
                  <a:pt x="1490" y="301"/>
                  <a:pt x="1490" y="301"/>
                  <a:pt x="1490" y="301"/>
                </a:cubicBezTo>
                <a:cubicBezTo>
                  <a:pt x="1509" y="354"/>
                  <a:pt x="1566" y="386"/>
                  <a:pt x="1623" y="374"/>
                </a:cubicBezTo>
                <a:cubicBezTo>
                  <a:pt x="1686" y="360"/>
                  <a:pt x="1726" y="298"/>
                  <a:pt x="1712" y="235"/>
                </a:cubicBezTo>
                <a:cubicBezTo>
                  <a:pt x="1709" y="221"/>
                  <a:pt x="1704" y="208"/>
                  <a:pt x="1697" y="196"/>
                </a:cubicBezTo>
                <a:cubicBezTo>
                  <a:pt x="1792" y="50"/>
                  <a:pt x="1792" y="50"/>
                  <a:pt x="1792" y="50"/>
                </a:cubicBezTo>
                <a:cubicBezTo>
                  <a:pt x="1933" y="142"/>
                  <a:pt x="1933" y="142"/>
                  <a:pt x="1933" y="142"/>
                </a:cubicBezTo>
                <a:cubicBezTo>
                  <a:pt x="1930" y="157"/>
                  <a:pt x="1930" y="172"/>
                  <a:pt x="1933" y="188"/>
                </a:cubicBezTo>
                <a:cubicBezTo>
                  <a:pt x="1947" y="251"/>
                  <a:pt x="2009" y="292"/>
                  <a:pt x="2072" y="278"/>
                </a:cubicBezTo>
                <a:cubicBezTo>
                  <a:pt x="2094" y="274"/>
                  <a:pt x="2113" y="262"/>
                  <a:pt x="2128" y="248"/>
                </a:cubicBezTo>
                <a:cubicBezTo>
                  <a:pt x="2201" y="295"/>
                  <a:pt x="2242" y="322"/>
                  <a:pt x="2266" y="338"/>
                </a:cubicBezTo>
                <a:cubicBezTo>
                  <a:pt x="2266" y="294"/>
                  <a:pt x="2266" y="294"/>
                  <a:pt x="2266" y="294"/>
                </a:cubicBezTo>
                <a:cubicBezTo>
                  <a:pt x="2151" y="219"/>
                  <a:pt x="2151" y="219"/>
                  <a:pt x="2151" y="219"/>
                </a:cubicBezTo>
                <a:close/>
                <a:moveTo>
                  <a:pt x="145" y="651"/>
                </a:moveTo>
                <a:cubicBezTo>
                  <a:pt x="101" y="660"/>
                  <a:pt x="58" y="632"/>
                  <a:pt x="49" y="588"/>
                </a:cubicBezTo>
                <a:cubicBezTo>
                  <a:pt x="40" y="545"/>
                  <a:pt x="67" y="502"/>
                  <a:pt x="112" y="492"/>
                </a:cubicBezTo>
                <a:cubicBezTo>
                  <a:pt x="155" y="483"/>
                  <a:pt x="198" y="511"/>
                  <a:pt x="207" y="555"/>
                </a:cubicBezTo>
                <a:cubicBezTo>
                  <a:pt x="216" y="598"/>
                  <a:pt x="189" y="642"/>
                  <a:pt x="145" y="651"/>
                </a:cubicBezTo>
                <a:close/>
                <a:moveTo>
                  <a:pt x="627" y="549"/>
                </a:moveTo>
                <a:cubicBezTo>
                  <a:pt x="583" y="558"/>
                  <a:pt x="540" y="529"/>
                  <a:pt x="531" y="486"/>
                </a:cubicBezTo>
                <a:cubicBezTo>
                  <a:pt x="521" y="442"/>
                  <a:pt x="550" y="399"/>
                  <a:pt x="593" y="390"/>
                </a:cubicBezTo>
                <a:cubicBezTo>
                  <a:pt x="637" y="381"/>
                  <a:pt x="679" y="409"/>
                  <a:pt x="689" y="452"/>
                </a:cubicBezTo>
                <a:cubicBezTo>
                  <a:pt x="698" y="496"/>
                  <a:pt x="670" y="539"/>
                  <a:pt x="627" y="549"/>
                </a:cubicBezTo>
                <a:close/>
                <a:moveTo>
                  <a:pt x="1118" y="444"/>
                </a:moveTo>
                <a:cubicBezTo>
                  <a:pt x="1075" y="453"/>
                  <a:pt x="1031" y="425"/>
                  <a:pt x="1022" y="381"/>
                </a:cubicBezTo>
                <a:cubicBezTo>
                  <a:pt x="1012" y="338"/>
                  <a:pt x="1041" y="295"/>
                  <a:pt x="1084" y="286"/>
                </a:cubicBezTo>
                <a:cubicBezTo>
                  <a:pt x="1128" y="276"/>
                  <a:pt x="1170" y="304"/>
                  <a:pt x="1180" y="348"/>
                </a:cubicBezTo>
                <a:cubicBezTo>
                  <a:pt x="1189" y="391"/>
                  <a:pt x="1161" y="435"/>
                  <a:pt x="1118" y="444"/>
                </a:cubicBezTo>
                <a:close/>
                <a:moveTo>
                  <a:pt x="1615" y="338"/>
                </a:moveTo>
                <a:cubicBezTo>
                  <a:pt x="1572" y="348"/>
                  <a:pt x="1529" y="319"/>
                  <a:pt x="1520" y="276"/>
                </a:cubicBezTo>
                <a:cubicBezTo>
                  <a:pt x="1510" y="232"/>
                  <a:pt x="1538" y="189"/>
                  <a:pt x="1582" y="180"/>
                </a:cubicBezTo>
                <a:cubicBezTo>
                  <a:pt x="1625" y="171"/>
                  <a:pt x="1668" y="199"/>
                  <a:pt x="1677" y="242"/>
                </a:cubicBezTo>
                <a:cubicBezTo>
                  <a:pt x="1686" y="286"/>
                  <a:pt x="1659" y="329"/>
                  <a:pt x="1615" y="338"/>
                </a:cubicBezTo>
                <a:close/>
                <a:moveTo>
                  <a:pt x="2064" y="243"/>
                </a:moveTo>
                <a:cubicBezTo>
                  <a:pt x="2021" y="252"/>
                  <a:pt x="1978" y="224"/>
                  <a:pt x="1969" y="180"/>
                </a:cubicBezTo>
                <a:cubicBezTo>
                  <a:pt x="1959" y="137"/>
                  <a:pt x="1987" y="94"/>
                  <a:pt x="2031" y="84"/>
                </a:cubicBezTo>
                <a:cubicBezTo>
                  <a:pt x="2074" y="75"/>
                  <a:pt x="2117" y="103"/>
                  <a:pt x="2126" y="147"/>
                </a:cubicBezTo>
                <a:cubicBezTo>
                  <a:pt x="2135" y="190"/>
                  <a:pt x="2108" y="234"/>
                  <a:pt x="2064" y="2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408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Rød">
    <p:bg>
      <p:bgPr>
        <a:solidFill>
          <a:srgbClr val="C81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prstClr val="white"/>
                </a:solidFill>
              </a:rPr>
              <a:t>18. februar 2014            Praksys</a:t>
            </a:r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977872"/>
      </p:ext>
    </p:extLst>
  </p:cSld>
  <p:clrMapOvr>
    <a:masterClrMapping/>
  </p:clrMapOvr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Petroleum">
    <p:bg>
      <p:bgPr>
        <a:solidFill>
          <a:srgbClr val="007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prstClr val="white"/>
                </a:solidFill>
              </a:rPr>
              <a:t>18. februar 2014            Praksys</a:t>
            </a:r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81916"/>
      </p:ext>
    </p:extLst>
  </p:cSld>
  <p:clrMapOvr>
    <a:masterClrMapping/>
  </p:clrMapOvr>
  <p:hf sldNum="0"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Grøn">
    <p:bg>
      <p:bgPr>
        <a:solidFill>
          <a:srgbClr val="7A9A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prstClr val="white"/>
                </a:solidFill>
              </a:rPr>
              <a:t>18. februar 2014            Praksys</a:t>
            </a:r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048151"/>
      </p:ext>
    </p:extLst>
  </p:cSld>
  <p:clrMapOvr>
    <a:masterClrMapping/>
  </p:clrMapOvr>
  <p:hf sldNum="0"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Lilla">
    <p:bg>
      <p:bgPr>
        <a:solidFill>
          <a:srgbClr val="482F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>
                <a:solidFill>
                  <a:prstClr val="black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>
                <a:solidFill>
                  <a:prstClr val="white"/>
                </a:solidFill>
              </a:rPr>
              <a:t>18. februar 2014            Praksys</a:t>
            </a:r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642210"/>
      </p:ext>
    </p:extLst>
  </p:cSld>
  <p:clrMapOvr>
    <a:masterClrMapping/>
  </p:clrMapOvr>
  <p:hf sldNum="0"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OMBIT Pause, Grå">
    <p:bg>
      <p:bgPr>
        <a:solidFill>
          <a:srgbClr val="CBC4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474742"/>
      </p:ext>
    </p:extLst>
  </p:cSld>
  <p:clrMapOvr>
    <a:masterClrMapping/>
  </p:clrMapOvr>
  <p:hf sldNum="0"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>
                <a:solidFill>
                  <a:prstClr val="black"/>
                </a:solidFill>
              </a:rPr>
              <a:t>Praksys.dk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3358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>
                <a:solidFill>
                  <a:prstClr val="black"/>
                </a:solidFill>
              </a:rPr>
              <a:t>Praksys.dk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230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noProof="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5999142"/>
            <a:ext cx="1512000" cy="530964"/>
          </a:xfrm>
          <a:prstGeom prst="rect">
            <a:avLst/>
          </a:prstGeom>
        </p:spPr>
      </p:pic>
      <p:sp>
        <p:nvSpPr>
          <p:cNvPr id="8" name="Freeform 12"/>
          <p:cNvSpPr>
            <a:spLocks noEditPoints="1"/>
          </p:cNvSpPr>
          <p:nvPr userDrawn="1"/>
        </p:nvSpPr>
        <p:spPr bwMode="auto">
          <a:xfrm>
            <a:off x="1954026" y="964377"/>
            <a:ext cx="7194211" cy="2223323"/>
          </a:xfrm>
          <a:custGeom>
            <a:avLst/>
            <a:gdLst>
              <a:gd name="T0" fmla="*/ 2151 w 2266"/>
              <a:gd name="T1" fmla="*/ 219 h 700"/>
              <a:gd name="T2" fmla="*/ 2161 w 2266"/>
              <a:gd name="T3" fmla="*/ 139 h 700"/>
              <a:gd name="T4" fmla="*/ 2023 w 2266"/>
              <a:gd name="T5" fmla="*/ 49 h 700"/>
              <a:gd name="T6" fmla="*/ 1945 w 2266"/>
              <a:gd name="T7" fmla="*/ 107 h 700"/>
              <a:gd name="T8" fmla="*/ 1781 w 2266"/>
              <a:gd name="T9" fmla="*/ 0 h 700"/>
              <a:gd name="T10" fmla="*/ 1672 w 2266"/>
              <a:gd name="T11" fmla="*/ 169 h 700"/>
              <a:gd name="T12" fmla="*/ 1574 w 2266"/>
              <a:gd name="T13" fmla="*/ 145 h 700"/>
              <a:gd name="T14" fmla="*/ 1482 w 2266"/>
              <a:gd name="T15" fmla="*/ 265 h 700"/>
              <a:gd name="T16" fmla="*/ 1210 w 2266"/>
              <a:gd name="T17" fmla="*/ 323 h 700"/>
              <a:gd name="T18" fmla="*/ 1077 w 2266"/>
              <a:gd name="T19" fmla="*/ 250 h 700"/>
              <a:gd name="T20" fmla="*/ 985 w 2266"/>
              <a:gd name="T21" fmla="*/ 371 h 700"/>
              <a:gd name="T22" fmla="*/ 719 w 2266"/>
              <a:gd name="T23" fmla="*/ 427 h 700"/>
              <a:gd name="T24" fmla="*/ 586 w 2266"/>
              <a:gd name="T25" fmla="*/ 355 h 700"/>
              <a:gd name="T26" fmla="*/ 493 w 2266"/>
              <a:gd name="T27" fmla="*/ 475 h 700"/>
              <a:gd name="T28" fmla="*/ 237 w 2266"/>
              <a:gd name="T29" fmla="*/ 530 h 700"/>
              <a:gd name="T30" fmla="*/ 104 w 2266"/>
              <a:gd name="T31" fmla="*/ 457 h 700"/>
              <a:gd name="T32" fmla="*/ 14 w 2266"/>
              <a:gd name="T33" fmla="*/ 596 h 700"/>
              <a:gd name="T34" fmla="*/ 153 w 2266"/>
              <a:gd name="T35" fmla="*/ 686 h 700"/>
              <a:gd name="T36" fmla="*/ 245 w 2266"/>
              <a:gd name="T37" fmla="*/ 565 h 700"/>
              <a:gd name="T38" fmla="*/ 500 w 2266"/>
              <a:gd name="T39" fmla="*/ 511 h 700"/>
              <a:gd name="T40" fmla="*/ 634 w 2266"/>
              <a:gd name="T41" fmla="*/ 584 h 700"/>
              <a:gd name="T42" fmla="*/ 726 w 2266"/>
              <a:gd name="T43" fmla="*/ 463 h 700"/>
              <a:gd name="T44" fmla="*/ 992 w 2266"/>
              <a:gd name="T45" fmla="*/ 406 h 700"/>
              <a:gd name="T46" fmla="*/ 1125 w 2266"/>
              <a:gd name="T47" fmla="*/ 480 h 700"/>
              <a:gd name="T48" fmla="*/ 1218 w 2266"/>
              <a:gd name="T49" fmla="*/ 358 h 700"/>
              <a:gd name="T50" fmla="*/ 1490 w 2266"/>
              <a:gd name="T51" fmla="*/ 301 h 700"/>
              <a:gd name="T52" fmla="*/ 1623 w 2266"/>
              <a:gd name="T53" fmla="*/ 374 h 700"/>
              <a:gd name="T54" fmla="*/ 1712 w 2266"/>
              <a:gd name="T55" fmla="*/ 235 h 700"/>
              <a:gd name="T56" fmla="*/ 1697 w 2266"/>
              <a:gd name="T57" fmla="*/ 196 h 700"/>
              <a:gd name="T58" fmla="*/ 1792 w 2266"/>
              <a:gd name="T59" fmla="*/ 50 h 700"/>
              <a:gd name="T60" fmla="*/ 1933 w 2266"/>
              <a:gd name="T61" fmla="*/ 142 h 700"/>
              <a:gd name="T62" fmla="*/ 1933 w 2266"/>
              <a:gd name="T63" fmla="*/ 188 h 700"/>
              <a:gd name="T64" fmla="*/ 2072 w 2266"/>
              <a:gd name="T65" fmla="*/ 278 h 700"/>
              <a:gd name="T66" fmla="*/ 2128 w 2266"/>
              <a:gd name="T67" fmla="*/ 248 h 700"/>
              <a:gd name="T68" fmla="*/ 2266 w 2266"/>
              <a:gd name="T69" fmla="*/ 338 h 700"/>
              <a:gd name="T70" fmla="*/ 2266 w 2266"/>
              <a:gd name="T71" fmla="*/ 294 h 700"/>
              <a:gd name="T72" fmla="*/ 2151 w 2266"/>
              <a:gd name="T73" fmla="*/ 219 h 700"/>
              <a:gd name="T74" fmla="*/ 145 w 2266"/>
              <a:gd name="T75" fmla="*/ 651 h 700"/>
              <a:gd name="T76" fmla="*/ 49 w 2266"/>
              <a:gd name="T77" fmla="*/ 588 h 700"/>
              <a:gd name="T78" fmla="*/ 112 w 2266"/>
              <a:gd name="T79" fmla="*/ 492 h 700"/>
              <a:gd name="T80" fmla="*/ 207 w 2266"/>
              <a:gd name="T81" fmla="*/ 555 h 700"/>
              <a:gd name="T82" fmla="*/ 145 w 2266"/>
              <a:gd name="T83" fmla="*/ 651 h 700"/>
              <a:gd name="T84" fmla="*/ 627 w 2266"/>
              <a:gd name="T85" fmla="*/ 549 h 700"/>
              <a:gd name="T86" fmla="*/ 531 w 2266"/>
              <a:gd name="T87" fmla="*/ 486 h 700"/>
              <a:gd name="T88" fmla="*/ 593 w 2266"/>
              <a:gd name="T89" fmla="*/ 390 h 700"/>
              <a:gd name="T90" fmla="*/ 689 w 2266"/>
              <a:gd name="T91" fmla="*/ 452 h 700"/>
              <a:gd name="T92" fmla="*/ 627 w 2266"/>
              <a:gd name="T93" fmla="*/ 549 h 700"/>
              <a:gd name="T94" fmla="*/ 1118 w 2266"/>
              <a:gd name="T95" fmla="*/ 444 h 700"/>
              <a:gd name="T96" fmla="*/ 1022 w 2266"/>
              <a:gd name="T97" fmla="*/ 381 h 700"/>
              <a:gd name="T98" fmla="*/ 1084 w 2266"/>
              <a:gd name="T99" fmla="*/ 286 h 700"/>
              <a:gd name="T100" fmla="*/ 1180 w 2266"/>
              <a:gd name="T101" fmla="*/ 348 h 700"/>
              <a:gd name="T102" fmla="*/ 1118 w 2266"/>
              <a:gd name="T103" fmla="*/ 444 h 700"/>
              <a:gd name="T104" fmla="*/ 1615 w 2266"/>
              <a:gd name="T105" fmla="*/ 338 h 700"/>
              <a:gd name="T106" fmla="*/ 1520 w 2266"/>
              <a:gd name="T107" fmla="*/ 276 h 700"/>
              <a:gd name="T108" fmla="*/ 1582 w 2266"/>
              <a:gd name="T109" fmla="*/ 180 h 700"/>
              <a:gd name="T110" fmla="*/ 1677 w 2266"/>
              <a:gd name="T111" fmla="*/ 242 h 700"/>
              <a:gd name="T112" fmla="*/ 1615 w 2266"/>
              <a:gd name="T113" fmla="*/ 338 h 700"/>
              <a:gd name="T114" fmla="*/ 2064 w 2266"/>
              <a:gd name="T115" fmla="*/ 243 h 700"/>
              <a:gd name="T116" fmla="*/ 1969 w 2266"/>
              <a:gd name="T117" fmla="*/ 180 h 700"/>
              <a:gd name="T118" fmla="*/ 2031 w 2266"/>
              <a:gd name="T119" fmla="*/ 84 h 700"/>
              <a:gd name="T120" fmla="*/ 2126 w 2266"/>
              <a:gd name="T121" fmla="*/ 147 h 700"/>
              <a:gd name="T122" fmla="*/ 2064 w 2266"/>
              <a:gd name="T123" fmla="*/ 243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66" h="700">
                <a:moveTo>
                  <a:pt x="2151" y="219"/>
                </a:moveTo>
                <a:cubicBezTo>
                  <a:pt x="2163" y="195"/>
                  <a:pt x="2167" y="168"/>
                  <a:pt x="2161" y="139"/>
                </a:cubicBezTo>
                <a:cubicBezTo>
                  <a:pt x="2148" y="76"/>
                  <a:pt x="2086" y="36"/>
                  <a:pt x="2023" y="49"/>
                </a:cubicBezTo>
                <a:cubicBezTo>
                  <a:pt x="1988" y="56"/>
                  <a:pt x="1961" y="78"/>
                  <a:pt x="1945" y="107"/>
                </a:cubicBezTo>
                <a:cubicBezTo>
                  <a:pt x="1781" y="0"/>
                  <a:pt x="1781" y="0"/>
                  <a:pt x="1781" y="0"/>
                </a:cubicBezTo>
                <a:cubicBezTo>
                  <a:pt x="1672" y="169"/>
                  <a:pt x="1672" y="169"/>
                  <a:pt x="1672" y="169"/>
                </a:cubicBezTo>
                <a:cubicBezTo>
                  <a:pt x="1646" y="146"/>
                  <a:pt x="1610" y="137"/>
                  <a:pt x="1574" y="145"/>
                </a:cubicBezTo>
                <a:cubicBezTo>
                  <a:pt x="1517" y="157"/>
                  <a:pt x="1479" y="209"/>
                  <a:pt x="1482" y="265"/>
                </a:cubicBezTo>
                <a:cubicBezTo>
                  <a:pt x="1210" y="323"/>
                  <a:pt x="1210" y="323"/>
                  <a:pt x="1210" y="323"/>
                </a:cubicBezTo>
                <a:cubicBezTo>
                  <a:pt x="1190" y="270"/>
                  <a:pt x="1133" y="238"/>
                  <a:pt x="1077" y="250"/>
                </a:cubicBezTo>
                <a:cubicBezTo>
                  <a:pt x="1019" y="262"/>
                  <a:pt x="981" y="315"/>
                  <a:pt x="985" y="371"/>
                </a:cubicBezTo>
                <a:cubicBezTo>
                  <a:pt x="719" y="427"/>
                  <a:pt x="719" y="427"/>
                  <a:pt x="719" y="427"/>
                </a:cubicBezTo>
                <a:cubicBezTo>
                  <a:pt x="699" y="375"/>
                  <a:pt x="642" y="343"/>
                  <a:pt x="586" y="355"/>
                </a:cubicBezTo>
                <a:cubicBezTo>
                  <a:pt x="528" y="367"/>
                  <a:pt x="490" y="419"/>
                  <a:pt x="493" y="475"/>
                </a:cubicBezTo>
                <a:cubicBezTo>
                  <a:pt x="237" y="530"/>
                  <a:pt x="237" y="530"/>
                  <a:pt x="237" y="530"/>
                </a:cubicBezTo>
                <a:cubicBezTo>
                  <a:pt x="217" y="477"/>
                  <a:pt x="161" y="445"/>
                  <a:pt x="104" y="457"/>
                </a:cubicBezTo>
                <a:cubicBezTo>
                  <a:pt x="40" y="471"/>
                  <a:pt x="0" y="533"/>
                  <a:pt x="14" y="596"/>
                </a:cubicBezTo>
                <a:cubicBezTo>
                  <a:pt x="27" y="659"/>
                  <a:pt x="89" y="700"/>
                  <a:pt x="153" y="686"/>
                </a:cubicBezTo>
                <a:cubicBezTo>
                  <a:pt x="209" y="674"/>
                  <a:pt x="248" y="622"/>
                  <a:pt x="245" y="565"/>
                </a:cubicBezTo>
                <a:cubicBezTo>
                  <a:pt x="500" y="511"/>
                  <a:pt x="500" y="511"/>
                  <a:pt x="500" y="511"/>
                </a:cubicBezTo>
                <a:cubicBezTo>
                  <a:pt x="521" y="564"/>
                  <a:pt x="577" y="596"/>
                  <a:pt x="634" y="584"/>
                </a:cubicBezTo>
                <a:cubicBezTo>
                  <a:pt x="691" y="572"/>
                  <a:pt x="729" y="520"/>
                  <a:pt x="726" y="463"/>
                </a:cubicBezTo>
                <a:cubicBezTo>
                  <a:pt x="992" y="406"/>
                  <a:pt x="992" y="406"/>
                  <a:pt x="992" y="406"/>
                </a:cubicBezTo>
                <a:cubicBezTo>
                  <a:pt x="1012" y="459"/>
                  <a:pt x="1068" y="492"/>
                  <a:pt x="1125" y="480"/>
                </a:cubicBezTo>
                <a:cubicBezTo>
                  <a:pt x="1182" y="468"/>
                  <a:pt x="1220" y="415"/>
                  <a:pt x="1218" y="358"/>
                </a:cubicBezTo>
                <a:cubicBezTo>
                  <a:pt x="1490" y="301"/>
                  <a:pt x="1490" y="301"/>
                  <a:pt x="1490" y="301"/>
                </a:cubicBezTo>
                <a:cubicBezTo>
                  <a:pt x="1509" y="354"/>
                  <a:pt x="1566" y="386"/>
                  <a:pt x="1623" y="374"/>
                </a:cubicBezTo>
                <a:cubicBezTo>
                  <a:pt x="1686" y="360"/>
                  <a:pt x="1726" y="298"/>
                  <a:pt x="1712" y="235"/>
                </a:cubicBezTo>
                <a:cubicBezTo>
                  <a:pt x="1709" y="221"/>
                  <a:pt x="1704" y="208"/>
                  <a:pt x="1697" y="196"/>
                </a:cubicBezTo>
                <a:cubicBezTo>
                  <a:pt x="1792" y="50"/>
                  <a:pt x="1792" y="50"/>
                  <a:pt x="1792" y="50"/>
                </a:cubicBezTo>
                <a:cubicBezTo>
                  <a:pt x="1933" y="142"/>
                  <a:pt x="1933" y="142"/>
                  <a:pt x="1933" y="142"/>
                </a:cubicBezTo>
                <a:cubicBezTo>
                  <a:pt x="1930" y="157"/>
                  <a:pt x="1930" y="172"/>
                  <a:pt x="1933" y="188"/>
                </a:cubicBezTo>
                <a:cubicBezTo>
                  <a:pt x="1947" y="251"/>
                  <a:pt x="2009" y="292"/>
                  <a:pt x="2072" y="278"/>
                </a:cubicBezTo>
                <a:cubicBezTo>
                  <a:pt x="2094" y="274"/>
                  <a:pt x="2113" y="262"/>
                  <a:pt x="2128" y="248"/>
                </a:cubicBezTo>
                <a:cubicBezTo>
                  <a:pt x="2201" y="295"/>
                  <a:pt x="2242" y="322"/>
                  <a:pt x="2266" y="338"/>
                </a:cubicBezTo>
                <a:cubicBezTo>
                  <a:pt x="2266" y="294"/>
                  <a:pt x="2266" y="294"/>
                  <a:pt x="2266" y="294"/>
                </a:cubicBezTo>
                <a:cubicBezTo>
                  <a:pt x="2151" y="219"/>
                  <a:pt x="2151" y="219"/>
                  <a:pt x="2151" y="219"/>
                </a:cubicBezTo>
                <a:close/>
                <a:moveTo>
                  <a:pt x="145" y="651"/>
                </a:moveTo>
                <a:cubicBezTo>
                  <a:pt x="101" y="660"/>
                  <a:pt x="58" y="632"/>
                  <a:pt x="49" y="588"/>
                </a:cubicBezTo>
                <a:cubicBezTo>
                  <a:pt x="40" y="545"/>
                  <a:pt x="67" y="502"/>
                  <a:pt x="112" y="492"/>
                </a:cubicBezTo>
                <a:cubicBezTo>
                  <a:pt x="155" y="483"/>
                  <a:pt x="198" y="511"/>
                  <a:pt x="207" y="555"/>
                </a:cubicBezTo>
                <a:cubicBezTo>
                  <a:pt x="216" y="598"/>
                  <a:pt x="189" y="642"/>
                  <a:pt x="145" y="651"/>
                </a:cubicBezTo>
                <a:close/>
                <a:moveTo>
                  <a:pt x="627" y="549"/>
                </a:moveTo>
                <a:cubicBezTo>
                  <a:pt x="583" y="558"/>
                  <a:pt x="540" y="529"/>
                  <a:pt x="531" y="486"/>
                </a:cubicBezTo>
                <a:cubicBezTo>
                  <a:pt x="521" y="442"/>
                  <a:pt x="550" y="399"/>
                  <a:pt x="593" y="390"/>
                </a:cubicBezTo>
                <a:cubicBezTo>
                  <a:pt x="637" y="381"/>
                  <a:pt x="679" y="409"/>
                  <a:pt x="689" y="452"/>
                </a:cubicBezTo>
                <a:cubicBezTo>
                  <a:pt x="698" y="496"/>
                  <a:pt x="670" y="539"/>
                  <a:pt x="627" y="549"/>
                </a:cubicBezTo>
                <a:close/>
                <a:moveTo>
                  <a:pt x="1118" y="444"/>
                </a:moveTo>
                <a:cubicBezTo>
                  <a:pt x="1075" y="453"/>
                  <a:pt x="1031" y="425"/>
                  <a:pt x="1022" y="381"/>
                </a:cubicBezTo>
                <a:cubicBezTo>
                  <a:pt x="1012" y="338"/>
                  <a:pt x="1041" y="295"/>
                  <a:pt x="1084" y="286"/>
                </a:cubicBezTo>
                <a:cubicBezTo>
                  <a:pt x="1128" y="276"/>
                  <a:pt x="1170" y="304"/>
                  <a:pt x="1180" y="348"/>
                </a:cubicBezTo>
                <a:cubicBezTo>
                  <a:pt x="1189" y="391"/>
                  <a:pt x="1161" y="435"/>
                  <a:pt x="1118" y="444"/>
                </a:cubicBezTo>
                <a:close/>
                <a:moveTo>
                  <a:pt x="1615" y="338"/>
                </a:moveTo>
                <a:cubicBezTo>
                  <a:pt x="1572" y="348"/>
                  <a:pt x="1529" y="319"/>
                  <a:pt x="1520" y="276"/>
                </a:cubicBezTo>
                <a:cubicBezTo>
                  <a:pt x="1510" y="232"/>
                  <a:pt x="1538" y="189"/>
                  <a:pt x="1582" y="180"/>
                </a:cubicBezTo>
                <a:cubicBezTo>
                  <a:pt x="1625" y="171"/>
                  <a:pt x="1668" y="199"/>
                  <a:pt x="1677" y="242"/>
                </a:cubicBezTo>
                <a:cubicBezTo>
                  <a:pt x="1686" y="286"/>
                  <a:pt x="1659" y="329"/>
                  <a:pt x="1615" y="338"/>
                </a:cubicBezTo>
                <a:close/>
                <a:moveTo>
                  <a:pt x="2064" y="243"/>
                </a:moveTo>
                <a:cubicBezTo>
                  <a:pt x="2021" y="252"/>
                  <a:pt x="1978" y="224"/>
                  <a:pt x="1969" y="180"/>
                </a:cubicBezTo>
                <a:cubicBezTo>
                  <a:pt x="1959" y="137"/>
                  <a:pt x="1987" y="94"/>
                  <a:pt x="2031" y="84"/>
                </a:cubicBezTo>
                <a:cubicBezTo>
                  <a:pt x="2074" y="75"/>
                  <a:pt x="2117" y="103"/>
                  <a:pt x="2126" y="147"/>
                </a:cubicBezTo>
                <a:cubicBezTo>
                  <a:pt x="2135" y="190"/>
                  <a:pt x="2108" y="234"/>
                  <a:pt x="2064" y="2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19217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7873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1952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A, Panorama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>
                <a:solidFill>
                  <a:prstClr val="black"/>
                </a:solidFill>
              </a:rPr>
              <a:t>Praksys.dk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71488" y="2702719"/>
            <a:ext cx="8167687" cy="298846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fuld bredde</a:t>
            </a:r>
            <a:br>
              <a:rPr lang="da-DK" dirty="0" smtClean="0"/>
            </a:br>
            <a:r>
              <a:rPr lang="da-DK" dirty="0" smtClean="0"/>
              <a:t>(indsat billede kan fjernes igen med tastaturknappen DELETE)</a:t>
            </a:r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8170068" cy="1116807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67500783"/>
      </p:ext>
    </p:extLst>
  </p:cSld>
  <p:clrMapOvr>
    <a:masterClrMapping/>
  </p:clrMapOvr>
  <p:hf sldNum="0"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B, Højrestille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5038725" y="1587500"/>
            <a:ext cx="3600451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højre side (indsat billede kan fjernes igen med tastaturknappen DELETE)</a:t>
            </a:r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/>
          </p:nvPr>
        </p:nvSpPr>
        <p:spPr>
          <a:xfrm>
            <a:off x="469107" y="1583531"/>
            <a:ext cx="4318917" cy="1989485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3600000"/>
            <a:ext cx="4319587" cy="2087562"/>
          </a:xfrm>
        </p:spPr>
        <p:txBody>
          <a:bodyPr anchor="b" anchorCtr="0"/>
          <a:lstStyle>
            <a:lvl1pPr marL="122400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 marL="1224000" indent="0"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1224000" indent="0">
              <a:buNone/>
              <a:defRPr sz="2200" b="0">
                <a:solidFill>
                  <a:schemeClr val="tx1"/>
                </a:solidFill>
              </a:defRPr>
            </a:lvl3pPr>
            <a:lvl4pPr marL="1224000" indent="0">
              <a:buNone/>
              <a:defRPr sz="2200" b="0">
                <a:solidFill>
                  <a:schemeClr val="tx1"/>
                </a:solidFill>
              </a:defRPr>
            </a:lvl4pPr>
            <a:lvl5pPr marL="1224000" indent="0">
              <a:buNone/>
              <a:defRPr lang="da-DK" sz="2200" b="0" dirty="0">
                <a:solidFill>
                  <a:schemeClr val="tx1"/>
                </a:solidFill>
              </a:defRPr>
            </a:lvl5pPr>
          </a:lstStyle>
          <a:p>
            <a:pPr marL="1188000" lv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ørste niveau</a:t>
            </a:r>
          </a:p>
          <a:p>
            <a:pPr marL="1188000" lvl="1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Andet niveau</a:t>
            </a:r>
          </a:p>
          <a:p>
            <a:pPr marL="1188000" lvl="2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Tredje niveau</a:t>
            </a:r>
          </a:p>
          <a:p>
            <a:pPr marL="1188000" lvl="3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jerde niveau</a:t>
            </a:r>
          </a:p>
          <a:p>
            <a:pPr marL="1188000" lvl="4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a-DK" dirty="0" smtClean="0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36386908"/>
      </p:ext>
    </p:extLst>
  </p:cSld>
  <p:clrMapOvr>
    <a:masterClrMapping/>
  </p:clrMapOvr>
  <p:hf sldNum="0"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C, 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716017" y="1587500"/>
            <a:ext cx="3923160" cy="4103689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billede i højre side (indsat billede kan fjernes igen med tastaturknappen DELETE)</a:t>
            </a:r>
            <a:endParaRPr lang="da-DK" dirty="0"/>
          </a:p>
        </p:txBody>
      </p:sp>
      <p:sp>
        <p:nvSpPr>
          <p:cNvPr id="9" name="Pladsholder til billede 8"/>
          <p:cNvSpPr>
            <a:spLocks noGrp="1"/>
          </p:cNvSpPr>
          <p:nvPr>
            <p:ph type="pic" sz="quarter" idx="14" hasCustomPrompt="1"/>
          </p:nvPr>
        </p:nvSpPr>
        <p:spPr>
          <a:xfrm>
            <a:off x="467544" y="1581150"/>
            <a:ext cx="3960440" cy="4079875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 smtClean="0"/>
              <a:t>Klik på knappen i midten for at indsætte billede i venstre side (indsat billede kan fjernes igen med tastaturknappen DELETE)</a:t>
            </a:r>
          </a:p>
        </p:txBody>
      </p:sp>
    </p:spTree>
    <p:extLst>
      <p:ext uri="{BB962C8B-B14F-4D97-AF65-F5344CB8AC3E}">
        <p14:creationId xmlns:p14="http://schemas.microsoft.com/office/powerpoint/2010/main" val="462728706"/>
      </p:ext>
    </p:extLst>
  </p:cSld>
  <p:clrMapOvr>
    <a:masterClrMapping/>
  </p:clrMapOvr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D, Helside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67544" y="576264"/>
            <a:ext cx="8171633" cy="511492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helside billede (indsat billede kan fjernes igen med tastaturknappen DELETE)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17430177"/>
      </p:ext>
    </p:extLst>
  </p:cSld>
  <p:clrMapOvr>
    <a:masterClrMapping/>
  </p:clrMapOvr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E, Billede og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 hasCustomPrompt="1"/>
          </p:nvPr>
        </p:nvSpPr>
        <p:spPr>
          <a:xfrm>
            <a:off x="467544" y="576264"/>
            <a:ext cx="8171633" cy="5114926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da-DK" dirty="0" smtClean="0"/>
              <a:t>Klik på knappen i midten for at indsætte helside billede (indsat billede kan fjernes igen med tastaturknappen DELETE)</a:t>
            </a:r>
            <a:endParaRPr lang="da-DK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4"/>
          </p:nvPr>
        </p:nvSpPr>
        <p:spPr>
          <a:xfrm>
            <a:off x="828000" y="936000"/>
            <a:ext cx="3599984" cy="4395600"/>
          </a:xfrm>
          <a:solidFill>
            <a:schemeClr val="bg1"/>
          </a:solidFill>
        </p:spPr>
        <p:txBody>
          <a:bodyPr lIns="324000" tIns="270000" rIns="324000" bIns="270000"/>
          <a:lstStyle>
            <a:lvl1pPr>
              <a:lnSpc>
                <a:spcPct val="100000"/>
              </a:lnSpc>
              <a:defRPr sz="1700"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 sz="1700"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 sz="1700"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 sz="1700">
                <a:solidFill>
                  <a:schemeClr val="tx1"/>
                </a:solidFill>
              </a:defRPr>
            </a:lvl4pPr>
            <a:lvl5pPr>
              <a:lnSpc>
                <a:spcPts val="2200"/>
              </a:lnSpc>
              <a:defRPr sz="17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041325737"/>
      </p:ext>
    </p:extLst>
  </p:cSld>
  <p:clrMapOvr>
    <a:masterClrMapping/>
  </p:clrMapOvr>
  <p:hf sldNum="0"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MBIT E, Rap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3" y="576000"/>
            <a:ext cx="6696745" cy="332720"/>
          </a:xfr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pPr lvl="0"/>
            <a:r>
              <a:rPr lang="da-DK" dirty="0" smtClean="0"/>
              <a:t>Rapport overskrift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67999" y="1584001"/>
            <a:ext cx="6696289" cy="4106304"/>
          </a:xfrm>
        </p:spPr>
        <p:txBody>
          <a:bodyPr/>
          <a:lstStyle>
            <a:lvl1pPr>
              <a:lnSpc>
                <a:spcPts val="2200"/>
              </a:lnSpc>
              <a:defRPr sz="1500"/>
            </a:lvl1pPr>
            <a:lvl2pPr>
              <a:lnSpc>
                <a:spcPts val="2200"/>
              </a:lnSpc>
              <a:defRPr sz="1500" b="0"/>
            </a:lvl2pPr>
            <a:lvl3pPr>
              <a:lnSpc>
                <a:spcPts val="2200"/>
              </a:lnSpc>
              <a:defRPr sz="1500" b="0"/>
            </a:lvl3pPr>
            <a:lvl4pPr>
              <a:lnSpc>
                <a:spcPts val="2200"/>
              </a:lnSpc>
              <a:defRPr sz="1500" b="0" baseline="0"/>
            </a:lvl4pPr>
            <a:lvl5pPr>
              <a:lnSpc>
                <a:spcPts val="2200"/>
              </a:lnSpc>
              <a:defRPr sz="1500" b="0"/>
            </a:lvl5pPr>
          </a:lstStyle>
          <a:p>
            <a:pPr lvl="0"/>
            <a:r>
              <a:rPr lang="da-DK" dirty="0" smtClean="0"/>
              <a:t>Rubrik overskrift (Niveau 1)</a:t>
            </a:r>
          </a:p>
          <a:p>
            <a:pPr lvl="1"/>
            <a:r>
              <a:rPr lang="da-DK" dirty="0" smtClean="0"/>
              <a:t>Brødtekst (Niveau 2)</a:t>
            </a:r>
          </a:p>
          <a:p>
            <a:pPr lvl="2"/>
            <a:r>
              <a:rPr lang="da-DK" dirty="0" smtClean="0"/>
              <a:t>Tekst (Niveau 3)</a:t>
            </a:r>
          </a:p>
          <a:p>
            <a:pPr lvl="3"/>
            <a:r>
              <a:rPr lang="da-DK" dirty="0" smtClean="0"/>
              <a:t>Tekst (Niveau 4)</a:t>
            </a:r>
          </a:p>
          <a:p>
            <a:pPr lvl="4"/>
            <a:r>
              <a:rPr lang="da-DK" dirty="0" smtClean="0"/>
              <a:t>Tekst (Niveau 5)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981075"/>
            <a:ext cx="6696075" cy="360363"/>
          </a:xfrm>
        </p:spPr>
        <p:txBody>
          <a:bodyPr>
            <a:normAutofit/>
          </a:bodyPr>
          <a:lstStyle>
            <a:lvl1pPr>
              <a:lnSpc>
                <a:spcPts val="2500"/>
              </a:lnSpc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Rapport under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3241992"/>
      </p:ext>
    </p:extLst>
  </p:cSld>
  <p:clrMapOvr>
    <a:masterClrMapping/>
  </p:clrMapOvr>
  <p:hf sldNum="0"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black"/>
                </a:solidFill>
              </a:rPr>
              <a:t>18. februar 2014            Praksys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5318" y="4406900"/>
            <a:ext cx="8231137" cy="1254347"/>
          </a:xfrm>
        </p:spPr>
        <p:txBody>
          <a:bodyPr anchor="t">
            <a:noAutofit/>
          </a:bodyPr>
          <a:lstStyle>
            <a:lvl1pPr algn="l">
              <a:defRPr sz="4300" b="0" cap="none" baseline="0"/>
            </a:lvl1pPr>
          </a:lstStyle>
          <a:p>
            <a:r>
              <a:rPr lang="da-DK" noProof="0" smtClean="0"/>
              <a:t>Klik for at redigere titeltypografi i masteren</a:t>
            </a:r>
            <a:endParaRPr lang="da-DK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458018" y="3429000"/>
            <a:ext cx="8218437" cy="793824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lang="en-US" sz="2500" b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noProof="0" smtClean="0"/>
              <a:t>Klik for at redigere typografi i masteren</a:t>
            </a:r>
          </a:p>
        </p:txBody>
      </p: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5999142"/>
            <a:ext cx="1512000" cy="530964"/>
          </a:xfrm>
          <a:prstGeom prst="rect">
            <a:avLst/>
          </a:prstGeom>
        </p:spPr>
      </p:pic>
      <p:sp>
        <p:nvSpPr>
          <p:cNvPr id="9" name="Freeform 12"/>
          <p:cNvSpPr>
            <a:spLocks noEditPoints="1"/>
          </p:cNvSpPr>
          <p:nvPr userDrawn="1"/>
        </p:nvSpPr>
        <p:spPr bwMode="auto">
          <a:xfrm>
            <a:off x="1954026" y="964377"/>
            <a:ext cx="7194211" cy="2223323"/>
          </a:xfrm>
          <a:custGeom>
            <a:avLst/>
            <a:gdLst>
              <a:gd name="T0" fmla="*/ 2151 w 2266"/>
              <a:gd name="T1" fmla="*/ 219 h 700"/>
              <a:gd name="T2" fmla="*/ 2161 w 2266"/>
              <a:gd name="T3" fmla="*/ 139 h 700"/>
              <a:gd name="T4" fmla="*/ 2023 w 2266"/>
              <a:gd name="T5" fmla="*/ 49 h 700"/>
              <a:gd name="T6" fmla="*/ 1945 w 2266"/>
              <a:gd name="T7" fmla="*/ 107 h 700"/>
              <a:gd name="T8" fmla="*/ 1781 w 2266"/>
              <a:gd name="T9" fmla="*/ 0 h 700"/>
              <a:gd name="T10" fmla="*/ 1672 w 2266"/>
              <a:gd name="T11" fmla="*/ 169 h 700"/>
              <a:gd name="T12" fmla="*/ 1574 w 2266"/>
              <a:gd name="T13" fmla="*/ 145 h 700"/>
              <a:gd name="T14" fmla="*/ 1482 w 2266"/>
              <a:gd name="T15" fmla="*/ 265 h 700"/>
              <a:gd name="T16" fmla="*/ 1210 w 2266"/>
              <a:gd name="T17" fmla="*/ 323 h 700"/>
              <a:gd name="T18" fmla="*/ 1077 w 2266"/>
              <a:gd name="T19" fmla="*/ 250 h 700"/>
              <a:gd name="T20" fmla="*/ 985 w 2266"/>
              <a:gd name="T21" fmla="*/ 371 h 700"/>
              <a:gd name="T22" fmla="*/ 719 w 2266"/>
              <a:gd name="T23" fmla="*/ 427 h 700"/>
              <a:gd name="T24" fmla="*/ 586 w 2266"/>
              <a:gd name="T25" fmla="*/ 355 h 700"/>
              <a:gd name="T26" fmla="*/ 493 w 2266"/>
              <a:gd name="T27" fmla="*/ 475 h 700"/>
              <a:gd name="T28" fmla="*/ 237 w 2266"/>
              <a:gd name="T29" fmla="*/ 530 h 700"/>
              <a:gd name="T30" fmla="*/ 104 w 2266"/>
              <a:gd name="T31" fmla="*/ 457 h 700"/>
              <a:gd name="T32" fmla="*/ 14 w 2266"/>
              <a:gd name="T33" fmla="*/ 596 h 700"/>
              <a:gd name="T34" fmla="*/ 153 w 2266"/>
              <a:gd name="T35" fmla="*/ 686 h 700"/>
              <a:gd name="T36" fmla="*/ 245 w 2266"/>
              <a:gd name="T37" fmla="*/ 565 h 700"/>
              <a:gd name="T38" fmla="*/ 500 w 2266"/>
              <a:gd name="T39" fmla="*/ 511 h 700"/>
              <a:gd name="T40" fmla="*/ 634 w 2266"/>
              <a:gd name="T41" fmla="*/ 584 h 700"/>
              <a:gd name="T42" fmla="*/ 726 w 2266"/>
              <a:gd name="T43" fmla="*/ 463 h 700"/>
              <a:gd name="T44" fmla="*/ 992 w 2266"/>
              <a:gd name="T45" fmla="*/ 406 h 700"/>
              <a:gd name="T46" fmla="*/ 1125 w 2266"/>
              <a:gd name="T47" fmla="*/ 480 h 700"/>
              <a:gd name="T48" fmla="*/ 1218 w 2266"/>
              <a:gd name="T49" fmla="*/ 358 h 700"/>
              <a:gd name="T50" fmla="*/ 1490 w 2266"/>
              <a:gd name="T51" fmla="*/ 301 h 700"/>
              <a:gd name="T52" fmla="*/ 1623 w 2266"/>
              <a:gd name="T53" fmla="*/ 374 h 700"/>
              <a:gd name="T54" fmla="*/ 1712 w 2266"/>
              <a:gd name="T55" fmla="*/ 235 h 700"/>
              <a:gd name="T56" fmla="*/ 1697 w 2266"/>
              <a:gd name="T57" fmla="*/ 196 h 700"/>
              <a:gd name="T58" fmla="*/ 1792 w 2266"/>
              <a:gd name="T59" fmla="*/ 50 h 700"/>
              <a:gd name="T60" fmla="*/ 1933 w 2266"/>
              <a:gd name="T61" fmla="*/ 142 h 700"/>
              <a:gd name="T62" fmla="*/ 1933 w 2266"/>
              <a:gd name="T63" fmla="*/ 188 h 700"/>
              <a:gd name="T64" fmla="*/ 2072 w 2266"/>
              <a:gd name="T65" fmla="*/ 278 h 700"/>
              <a:gd name="T66" fmla="*/ 2128 w 2266"/>
              <a:gd name="T67" fmla="*/ 248 h 700"/>
              <a:gd name="T68" fmla="*/ 2266 w 2266"/>
              <a:gd name="T69" fmla="*/ 338 h 700"/>
              <a:gd name="T70" fmla="*/ 2266 w 2266"/>
              <a:gd name="T71" fmla="*/ 294 h 700"/>
              <a:gd name="T72" fmla="*/ 2151 w 2266"/>
              <a:gd name="T73" fmla="*/ 219 h 700"/>
              <a:gd name="T74" fmla="*/ 145 w 2266"/>
              <a:gd name="T75" fmla="*/ 651 h 700"/>
              <a:gd name="T76" fmla="*/ 49 w 2266"/>
              <a:gd name="T77" fmla="*/ 588 h 700"/>
              <a:gd name="T78" fmla="*/ 112 w 2266"/>
              <a:gd name="T79" fmla="*/ 492 h 700"/>
              <a:gd name="T80" fmla="*/ 207 w 2266"/>
              <a:gd name="T81" fmla="*/ 555 h 700"/>
              <a:gd name="T82" fmla="*/ 145 w 2266"/>
              <a:gd name="T83" fmla="*/ 651 h 700"/>
              <a:gd name="T84" fmla="*/ 627 w 2266"/>
              <a:gd name="T85" fmla="*/ 549 h 700"/>
              <a:gd name="T86" fmla="*/ 531 w 2266"/>
              <a:gd name="T87" fmla="*/ 486 h 700"/>
              <a:gd name="T88" fmla="*/ 593 w 2266"/>
              <a:gd name="T89" fmla="*/ 390 h 700"/>
              <a:gd name="T90" fmla="*/ 689 w 2266"/>
              <a:gd name="T91" fmla="*/ 452 h 700"/>
              <a:gd name="T92" fmla="*/ 627 w 2266"/>
              <a:gd name="T93" fmla="*/ 549 h 700"/>
              <a:gd name="T94" fmla="*/ 1118 w 2266"/>
              <a:gd name="T95" fmla="*/ 444 h 700"/>
              <a:gd name="T96" fmla="*/ 1022 w 2266"/>
              <a:gd name="T97" fmla="*/ 381 h 700"/>
              <a:gd name="T98" fmla="*/ 1084 w 2266"/>
              <a:gd name="T99" fmla="*/ 286 h 700"/>
              <a:gd name="T100" fmla="*/ 1180 w 2266"/>
              <a:gd name="T101" fmla="*/ 348 h 700"/>
              <a:gd name="T102" fmla="*/ 1118 w 2266"/>
              <a:gd name="T103" fmla="*/ 444 h 700"/>
              <a:gd name="T104" fmla="*/ 1615 w 2266"/>
              <a:gd name="T105" fmla="*/ 338 h 700"/>
              <a:gd name="T106" fmla="*/ 1520 w 2266"/>
              <a:gd name="T107" fmla="*/ 276 h 700"/>
              <a:gd name="T108" fmla="*/ 1582 w 2266"/>
              <a:gd name="T109" fmla="*/ 180 h 700"/>
              <a:gd name="T110" fmla="*/ 1677 w 2266"/>
              <a:gd name="T111" fmla="*/ 242 h 700"/>
              <a:gd name="T112" fmla="*/ 1615 w 2266"/>
              <a:gd name="T113" fmla="*/ 338 h 700"/>
              <a:gd name="T114" fmla="*/ 2064 w 2266"/>
              <a:gd name="T115" fmla="*/ 243 h 700"/>
              <a:gd name="T116" fmla="*/ 1969 w 2266"/>
              <a:gd name="T117" fmla="*/ 180 h 700"/>
              <a:gd name="T118" fmla="*/ 2031 w 2266"/>
              <a:gd name="T119" fmla="*/ 84 h 700"/>
              <a:gd name="T120" fmla="*/ 2126 w 2266"/>
              <a:gd name="T121" fmla="*/ 147 h 700"/>
              <a:gd name="T122" fmla="*/ 2064 w 2266"/>
              <a:gd name="T123" fmla="*/ 243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266" h="700">
                <a:moveTo>
                  <a:pt x="2151" y="219"/>
                </a:moveTo>
                <a:cubicBezTo>
                  <a:pt x="2163" y="195"/>
                  <a:pt x="2167" y="168"/>
                  <a:pt x="2161" y="139"/>
                </a:cubicBezTo>
                <a:cubicBezTo>
                  <a:pt x="2148" y="76"/>
                  <a:pt x="2086" y="36"/>
                  <a:pt x="2023" y="49"/>
                </a:cubicBezTo>
                <a:cubicBezTo>
                  <a:pt x="1988" y="56"/>
                  <a:pt x="1961" y="78"/>
                  <a:pt x="1945" y="107"/>
                </a:cubicBezTo>
                <a:cubicBezTo>
                  <a:pt x="1781" y="0"/>
                  <a:pt x="1781" y="0"/>
                  <a:pt x="1781" y="0"/>
                </a:cubicBezTo>
                <a:cubicBezTo>
                  <a:pt x="1672" y="169"/>
                  <a:pt x="1672" y="169"/>
                  <a:pt x="1672" y="169"/>
                </a:cubicBezTo>
                <a:cubicBezTo>
                  <a:pt x="1646" y="146"/>
                  <a:pt x="1610" y="137"/>
                  <a:pt x="1574" y="145"/>
                </a:cubicBezTo>
                <a:cubicBezTo>
                  <a:pt x="1517" y="157"/>
                  <a:pt x="1479" y="209"/>
                  <a:pt x="1482" y="265"/>
                </a:cubicBezTo>
                <a:cubicBezTo>
                  <a:pt x="1210" y="323"/>
                  <a:pt x="1210" y="323"/>
                  <a:pt x="1210" y="323"/>
                </a:cubicBezTo>
                <a:cubicBezTo>
                  <a:pt x="1190" y="270"/>
                  <a:pt x="1133" y="238"/>
                  <a:pt x="1077" y="250"/>
                </a:cubicBezTo>
                <a:cubicBezTo>
                  <a:pt x="1019" y="262"/>
                  <a:pt x="981" y="315"/>
                  <a:pt x="985" y="371"/>
                </a:cubicBezTo>
                <a:cubicBezTo>
                  <a:pt x="719" y="427"/>
                  <a:pt x="719" y="427"/>
                  <a:pt x="719" y="427"/>
                </a:cubicBezTo>
                <a:cubicBezTo>
                  <a:pt x="699" y="375"/>
                  <a:pt x="642" y="343"/>
                  <a:pt x="586" y="355"/>
                </a:cubicBezTo>
                <a:cubicBezTo>
                  <a:pt x="528" y="367"/>
                  <a:pt x="490" y="419"/>
                  <a:pt x="493" y="475"/>
                </a:cubicBezTo>
                <a:cubicBezTo>
                  <a:pt x="237" y="530"/>
                  <a:pt x="237" y="530"/>
                  <a:pt x="237" y="530"/>
                </a:cubicBezTo>
                <a:cubicBezTo>
                  <a:pt x="217" y="477"/>
                  <a:pt x="161" y="445"/>
                  <a:pt x="104" y="457"/>
                </a:cubicBezTo>
                <a:cubicBezTo>
                  <a:pt x="40" y="471"/>
                  <a:pt x="0" y="533"/>
                  <a:pt x="14" y="596"/>
                </a:cubicBezTo>
                <a:cubicBezTo>
                  <a:pt x="27" y="659"/>
                  <a:pt x="89" y="700"/>
                  <a:pt x="153" y="686"/>
                </a:cubicBezTo>
                <a:cubicBezTo>
                  <a:pt x="209" y="674"/>
                  <a:pt x="248" y="622"/>
                  <a:pt x="245" y="565"/>
                </a:cubicBezTo>
                <a:cubicBezTo>
                  <a:pt x="500" y="511"/>
                  <a:pt x="500" y="511"/>
                  <a:pt x="500" y="511"/>
                </a:cubicBezTo>
                <a:cubicBezTo>
                  <a:pt x="521" y="564"/>
                  <a:pt x="577" y="596"/>
                  <a:pt x="634" y="584"/>
                </a:cubicBezTo>
                <a:cubicBezTo>
                  <a:pt x="691" y="572"/>
                  <a:pt x="729" y="520"/>
                  <a:pt x="726" y="463"/>
                </a:cubicBezTo>
                <a:cubicBezTo>
                  <a:pt x="992" y="406"/>
                  <a:pt x="992" y="406"/>
                  <a:pt x="992" y="406"/>
                </a:cubicBezTo>
                <a:cubicBezTo>
                  <a:pt x="1012" y="459"/>
                  <a:pt x="1068" y="492"/>
                  <a:pt x="1125" y="480"/>
                </a:cubicBezTo>
                <a:cubicBezTo>
                  <a:pt x="1182" y="468"/>
                  <a:pt x="1220" y="415"/>
                  <a:pt x="1218" y="358"/>
                </a:cubicBezTo>
                <a:cubicBezTo>
                  <a:pt x="1490" y="301"/>
                  <a:pt x="1490" y="301"/>
                  <a:pt x="1490" y="301"/>
                </a:cubicBezTo>
                <a:cubicBezTo>
                  <a:pt x="1509" y="354"/>
                  <a:pt x="1566" y="386"/>
                  <a:pt x="1623" y="374"/>
                </a:cubicBezTo>
                <a:cubicBezTo>
                  <a:pt x="1686" y="360"/>
                  <a:pt x="1726" y="298"/>
                  <a:pt x="1712" y="235"/>
                </a:cubicBezTo>
                <a:cubicBezTo>
                  <a:pt x="1709" y="221"/>
                  <a:pt x="1704" y="208"/>
                  <a:pt x="1697" y="196"/>
                </a:cubicBezTo>
                <a:cubicBezTo>
                  <a:pt x="1792" y="50"/>
                  <a:pt x="1792" y="50"/>
                  <a:pt x="1792" y="50"/>
                </a:cubicBezTo>
                <a:cubicBezTo>
                  <a:pt x="1933" y="142"/>
                  <a:pt x="1933" y="142"/>
                  <a:pt x="1933" y="142"/>
                </a:cubicBezTo>
                <a:cubicBezTo>
                  <a:pt x="1930" y="157"/>
                  <a:pt x="1930" y="172"/>
                  <a:pt x="1933" y="188"/>
                </a:cubicBezTo>
                <a:cubicBezTo>
                  <a:pt x="1947" y="251"/>
                  <a:pt x="2009" y="292"/>
                  <a:pt x="2072" y="278"/>
                </a:cubicBezTo>
                <a:cubicBezTo>
                  <a:pt x="2094" y="274"/>
                  <a:pt x="2113" y="262"/>
                  <a:pt x="2128" y="248"/>
                </a:cubicBezTo>
                <a:cubicBezTo>
                  <a:pt x="2201" y="295"/>
                  <a:pt x="2242" y="322"/>
                  <a:pt x="2266" y="338"/>
                </a:cubicBezTo>
                <a:cubicBezTo>
                  <a:pt x="2266" y="294"/>
                  <a:pt x="2266" y="294"/>
                  <a:pt x="2266" y="294"/>
                </a:cubicBezTo>
                <a:cubicBezTo>
                  <a:pt x="2151" y="219"/>
                  <a:pt x="2151" y="219"/>
                  <a:pt x="2151" y="219"/>
                </a:cubicBezTo>
                <a:close/>
                <a:moveTo>
                  <a:pt x="145" y="651"/>
                </a:moveTo>
                <a:cubicBezTo>
                  <a:pt x="101" y="660"/>
                  <a:pt x="58" y="632"/>
                  <a:pt x="49" y="588"/>
                </a:cubicBezTo>
                <a:cubicBezTo>
                  <a:pt x="40" y="545"/>
                  <a:pt x="67" y="502"/>
                  <a:pt x="112" y="492"/>
                </a:cubicBezTo>
                <a:cubicBezTo>
                  <a:pt x="155" y="483"/>
                  <a:pt x="198" y="511"/>
                  <a:pt x="207" y="555"/>
                </a:cubicBezTo>
                <a:cubicBezTo>
                  <a:pt x="216" y="598"/>
                  <a:pt x="189" y="642"/>
                  <a:pt x="145" y="651"/>
                </a:cubicBezTo>
                <a:close/>
                <a:moveTo>
                  <a:pt x="627" y="549"/>
                </a:moveTo>
                <a:cubicBezTo>
                  <a:pt x="583" y="558"/>
                  <a:pt x="540" y="529"/>
                  <a:pt x="531" y="486"/>
                </a:cubicBezTo>
                <a:cubicBezTo>
                  <a:pt x="521" y="442"/>
                  <a:pt x="550" y="399"/>
                  <a:pt x="593" y="390"/>
                </a:cubicBezTo>
                <a:cubicBezTo>
                  <a:pt x="637" y="381"/>
                  <a:pt x="679" y="409"/>
                  <a:pt x="689" y="452"/>
                </a:cubicBezTo>
                <a:cubicBezTo>
                  <a:pt x="698" y="496"/>
                  <a:pt x="670" y="539"/>
                  <a:pt x="627" y="549"/>
                </a:cubicBezTo>
                <a:close/>
                <a:moveTo>
                  <a:pt x="1118" y="444"/>
                </a:moveTo>
                <a:cubicBezTo>
                  <a:pt x="1075" y="453"/>
                  <a:pt x="1031" y="425"/>
                  <a:pt x="1022" y="381"/>
                </a:cubicBezTo>
                <a:cubicBezTo>
                  <a:pt x="1012" y="338"/>
                  <a:pt x="1041" y="295"/>
                  <a:pt x="1084" y="286"/>
                </a:cubicBezTo>
                <a:cubicBezTo>
                  <a:pt x="1128" y="276"/>
                  <a:pt x="1170" y="304"/>
                  <a:pt x="1180" y="348"/>
                </a:cubicBezTo>
                <a:cubicBezTo>
                  <a:pt x="1189" y="391"/>
                  <a:pt x="1161" y="435"/>
                  <a:pt x="1118" y="444"/>
                </a:cubicBezTo>
                <a:close/>
                <a:moveTo>
                  <a:pt x="1615" y="338"/>
                </a:moveTo>
                <a:cubicBezTo>
                  <a:pt x="1572" y="348"/>
                  <a:pt x="1529" y="319"/>
                  <a:pt x="1520" y="276"/>
                </a:cubicBezTo>
                <a:cubicBezTo>
                  <a:pt x="1510" y="232"/>
                  <a:pt x="1538" y="189"/>
                  <a:pt x="1582" y="180"/>
                </a:cubicBezTo>
                <a:cubicBezTo>
                  <a:pt x="1625" y="171"/>
                  <a:pt x="1668" y="199"/>
                  <a:pt x="1677" y="242"/>
                </a:cubicBezTo>
                <a:cubicBezTo>
                  <a:pt x="1686" y="286"/>
                  <a:pt x="1659" y="329"/>
                  <a:pt x="1615" y="338"/>
                </a:cubicBezTo>
                <a:close/>
                <a:moveTo>
                  <a:pt x="2064" y="243"/>
                </a:moveTo>
                <a:cubicBezTo>
                  <a:pt x="2021" y="252"/>
                  <a:pt x="1978" y="224"/>
                  <a:pt x="1969" y="180"/>
                </a:cubicBezTo>
                <a:cubicBezTo>
                  <a:pt x="1959" y="137"/>
                  <a:pt x="1987" y="94"/>
                  <a:pt x="2031" y="84"/>
                </a:cubicBezTo>
                <a:cubicBezTo>
                  <a:pt x="2074" y="75"/>
                  <a:pt x="2117" y="103"/>
                  <a:pt x="2126" y="147"/>
                </a:cubicBezTo>
                <a:cubicBezTo>
                  <a:pt x="2135" y="190"/>
                  <a:pt x="2108" y="234"/>
                  <a:pt x="2064" y="24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17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Rød">
    <p:bg>
      <p:bgPr>
        <a:solidFill>
          <a:srgbClr val="C810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4192273689"/>
      </p:ext>
    </p:extLst>
  </p:cSld>
  <p:clrMapOvr>
    <a:masterClrMapping/>
  </p:clrMapOvr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Petroleum">
    <p:bg>
      <p:bgPr>
        <a:solidFill>
          <a:srgbClr val="0073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4192273689"/>
      </p:ext>
    </p:extLst>
  </p:cSld>
  <p:clrMapOvr>
    <a:masterClrMapping/>
  </p:clrMapOvr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Grøn">
    <p:bg>
      <p:bgPr>
        <a:solidFill>
          <a:srgbClr val="7A9A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4192273689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OMBIT Pause, Lilla">
    <p:bg>
      <p:bgPr>
        <a:solidFill>
          <a:srgbClr val="482F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e 42"/>
          <p:cNvGrpSpPr/>
          <p:nvPr/>
        </p:nvGrpSpPr>
        <p:grpSpPr>
          <a:xfrm>
            <a:off x="7127786" y="6063819"/>
            <a:ext cx="1504800" cy="476559"/>
            <a:chOff x="0" y="0"/>
            <a:chExt cx="6907213" cy="2160588"/>
          </a:xfrm>
          <a:solidFill>
            <a:schemeClr val="bg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0" y="20638"/>
              <a:ext cx="1103313" cy="1212850"/>
            </a:xfrm>
            <a:custGeom>
              <a:avLst/>
              <a:gdLst>
                <a:gd name="T0" fmla="*/ 0 w 695"/>
                <a:gd name="T1" fmla="*/ 0 h 764"/>
                <a:gd name="T2" fmla="*/ 168 w 695"/>
                <a:gd name="T3" fmla="*/ 0 h 764"/>
                <a:gd name="T4" fmla="*/ 168 w 695"/>
                <a:gd name="T5" fmla="*/ 334 h 764"/>
                <a:gd name="T6" fmla="*/ 478 w 695"/>
                <a:gd name="T7" fmla="*/ 0 h 764"/>
                <a:gd name="T8" fmla="*/ 680 w 695"/>
                <a:gd name="T9" fmla="*/ 0 h 764"/>
                <a:gd name="T10" fmla="*/ 370 w 695"/>
                <a:gd name="T11" fmla="*/ 324 h 764"/>
                <a:gd name="T12" fmla="*/ 695 w 695"/>
                <a:gd name="T13" fmla="*/ 764 h 764"/>
                <a:gd name="T14" fmla="*/ 493 w 695"/>
                <a:gd name="T15" fmla="*/ 764 h 764"/>
                <a:gd name="T16" fmla="*/ 256 w 695"/>
                <a:gd name="T17" fmla="*/ 439 h 764"/>
                <a:gd name="T18" fmla="*/ 168 w 695"/>
                <a:gd name="T19" fmla="*/ 530 h 764"/>
                <a:gd name="T20" fmla="*/ 168 w 695"/>
                <a:gd name="T21" fmla="*/ 764 h 764"/>
                <a:gd name="T22" fmla="*/ 0 w 695"/>
                <a:gd name="T23" fmla="*/ 764 h 764"/>
                <a:gd name="T24" fmla="*/ 0 w 695"/>
                <a:gd name="T25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764">
                  <a:moveTo>
                    <a:pt x="0" y="0"/>
                  </a:moveTo>
                  <a:lnTo>
                    <a:pt x="168" y="0"/>
                  </a:lnTo>
                  <a:lnTo>
                    <a:pt x="168" y="334"/>
                  </a:lnTo>
                  <a:lnTo>
                    <a:pt x="478" y="0"/>
                  </a:lnTo>
                  <a:lnTo>
                    <a:pt x="680" y="0"/>
                  </a:lnTo>
                  <a:lnTo>
                    <a:pt x="370" y="324"/>
                  </a:lnTo>
                  <a:lnTo>
                    <a:pt x="695" y="764"/>
                  </a:lnTo>
                  <a:lnTo>
                    <a:pt x="493" y="764"/>
                  </a:lnTo>
                  <a:lnTo>
                    <a:pt x="256" y="439"/>
                  </a:lnTo>
                  <a:lnTo>
                    <a:pt x="168" y="530"/>
                  </a:lnTo>
                  <a:lnTo>
                    <a:pt x="168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1082675" y="0"/>
              <a:ext cx="1287463" cy="1254125"/>
            </a:xfrm>
            <a:custGeom>
              <a:avLst/>
              <a:gdLst>
                <a:gd name="T0" fmla="*/ 0 w 2694"/>
                <a:gd name="T1" fmla="*/ 1318 h 2621"/>
                <a:gd name="T2" fmla="*/ 0 w 2694"/>
                <a:gd name="T3" fmla="*/ 1311 h 2621"/>
                <a:gd name="T4" fmla="*/ 1351 w 2694"/>
                <a:gd name="T5" fmla="*/ 0 h 2621"/>
                <a:gd name="T6" fmla="*/ 2694 w 2694"/>
                <a:gd name="T7" fmla="*/ 1303 h 2621"/>
                <a:gd name="T8" fmla="*/ 2694 w 2694"/>
                <a:gd name="T9" fmla="*/ 1311 h 2621"/>
                <a:gd name="T10" fmla="*/ 1344 w 2694"/>
                <a:gd name="T11" fmla="*/ 2621 h 2621"/>
                <a:gd name="T12" fmla="*/ 0 w 2694"/>
                <a:gd name="T13" fmla="*/ 1318 h 2621"/>
                <a:gd name="T14" fmla="*/ 2111 w 2694"/>
                <a:gd name="T15" fmla="*/ 1318 h 2621"/>
                <a:gd name="T16" fmla="*/ 2111 w 2694"/>
                <a:gd name="T17" fmla="*/ 1311 h 2621"/>
                <a:gd name="T18" fmla="*/ 1344 w 2694"/>
                <a:gd name="T19" fmla="*/ 514 h 2621"/>
                <a:gd name="T20" fmla="*/ 583 w 2694"/>
                <a:gd name="T21" fmla="*/ 1303 h 2621"/>
                <a:gd name="T22" fmla="*/ 583 w 2694"/>
                <a:gd name="T23" fmla="*/ 1311 h 2621"/>
                <a:gd name="T24" fmla="*/ 1351 w 2694"/>
                <a:gd name="T25" fmla="*/ 2107 h 2621"/>
                <a:gd name="T26" fmla="*/ 2111 w 2694"/>
                <a:gd name="T27" fmla="*/ 1318 h 2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94" h="2621">
                  <a:moveTo>
                    <a:pt x="0" y="1318"/>
                  </a:moveTo>
                  <a:cubicBezTo>
                    <a:pt x="0" y="1311"/>
                    <a:pt x="0" y="1311"/>
                    <a:pt x="0" y="1311"/>
                  </a:cubicBezTo>
                  <a:cubicBezTo>
                    <a:pt x="0" y="590"/>
                    <a:pt x="569" y="0"/>
                    <a:pt x="1351" y="0"/>
                  </a:cubicBezTo>
                  <a:cubicBezTo>
                    <a:pt x="2133" y="0"/>
                    <a:pt x="2694" y="583"/>
                    <a:pt x="2694" y="1303"/>
                  </a:cubicBezTo>
                  <a:cubicBezTo>
                    <a:pt x="2694" y="1311"/>
                    <a:pt x="2694" y="1311"/>
                    <a:pt x="2694" y="1311"/>
                  </a:cubicBezTo>
                  <a:cubicBezTo>
                    <a:pt x="2694" y="2031"/>
                    <a:pt x="2126" y="2621"/>
                    <a:pt x="1344" y="2621"/>
                  </a:cubicBezTo>
                  <a:cubicBezTo>
                    <a:pt x="562" y="2621"/>
                    <a:pt x="0" y="2038"/>
                    <a:pt x="0" y="1318"/>
                  </a:cubicBezTo>
                  <a:close/>
                  <a:moveTo>
                    <a:pt x="2111" y="1318"/>
                  </a:moveTo>
                  <a:cubicBezTo>
                    <a:pt x="2111" y="1311"/>
                    <a:pt x="2111" y="1311"/>
                    <a:pt x="2111" y="1311"/>
                  </a:cubicBezTo>
                  <a:cubicBezTo>
                    <a:pt x="2111" y="876"/>
                    <a:pt x="1793" y="514"/>
                    <a:pt x="1344" y="514"/>
                  </a:cubicBezTo>
                  <a:cubicBezTo>
                    <a:pt x="895" y="514"/>
                    <a:pt x="583" y="869"/>
                    <a:pt x="583" y="1303"/>
                  </a:cubicBezTo>
                  <a:cubicBezTo>
                    <a:pt x="583" y="1311"/>
                    <a:pt x="583" y="1311"/>
                    <a:pt x="583" y="1311"/>
                  </a:cubicBezTo>
                  <a:cubicBezTo>
                    <a:pt x="583" y="1745"/>
                    <a:pt x="902" y="2107"/>
                    <a:pt x="1351" y="2107"/>
                  </a:cubicBezTo>
                  <a:cubicBezTo>
                    <a:pt x="1800" y="2107"/>
                    <a:pt x="2111" y="1752"/>
                    <a:pt x="2111" y="1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97150" y="20638"/>
              <a:ext cx="1211263" cy="1212850"/>
            </a:xfrm>
            <a:custGeom>
              <a:avLst/>
              <a:gdLst>
                <a:gd name="T0" fmla="*/ 0 w 763"/>
                <a:gd name="T1" fmla="*/ 0 h 764"/>
                <a:gd name="T2" fmla="*/ 181 w 763"/>
                <a:gd name="T3" fmla="*/ 0 h 764"/>
                <a:gd name="T4" fmla="*/ 381 w 763"/>
                <a:gd name="T5" fmla="*/ 323 h 764"/>
                <a:gd name="T6" fmla="*/ 582 w 763"/>
                <a:gd name="T7" fmla="*/ 0 h 764"/>
                <a:gd name="T8" fmla="*/ 763 w 763"/>
                <a:gd name="T9" fmla="*/ 0 h 764"/>
                <a:gd name="T10" fmla="*/ 763 w 763"/>
                <a:gd name="T11" fmla="*/ 764 h 764"/>
                <a:gd name="T12" fmla="*/ 596 w 763"/>
                <a:gd name="T13" fmla="*/ 764 h 764"/>
                <a:gd name="T14" fmla="*/ 596 w 763"/>
                <a:gd name="T15" fmla="*/ 265 h 764"/>
                <a:gd name="T16" fmla="*/ 381 w 763"/>
                <a:gd name="T17" fmla="*/ 592 h 764"/>
                <a:gd name="T18" fmla="*/ 377 w 763"/>
                <a:gd name="T19" fmla="*/ 592 h 764"/>
                <a:gd name="T20" fmla="*/ 164 w 763"/>
                <a:gd name="T21" fmla="*/ 269 h 764"/>
                <a:gd name="T22" fmla="*/ 164 w 763"/>
                <a:gd name="T23" fmla="*/ 764 h 764"/>
                <a:gd name="T24" fmla="*/ 0 w 763"/>
                <a:gd name="T25" fmla="*/ 764 h 764"/>
                <a:gd name="T26" fmla="*/ 0 w 763"/>
                <a:gd name="T27" fmla="*/ 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3" h="764">
                  <a:moveTo>
                    <a:pt x="0" y="0"/>
                  </a:moveTo>
                  <a:lnTo>
                    <a:pt x="181" y="0"/>
                  </a:lnTo>
                  <a:lnTo>
                    <a:pt x="381" y="323"/>
                  </a:lnTo>
                  <a:lnTo>
                    <a:pt x="582" y="0"/>
                  </a:lnTo>
                  <a:lnTo>
                    <a:pt x="763" y="0"/>
                  </a:lnTo>
                  <a:lnTo>
                    <a:pt x="763" y="764"/>
                  </a:lnTo>
                  <a:lnTo>
                    <a:pt x="596" y="764"/>
                  </a:lnTo>
                  <a:lnTo>
                    <a:pt x="596" y="265"/>
                  </a:lnTo>
                  <a:lnTo>
                    <a:pt x="381" y="592"/>
                  </a:lnTo>
                  <a:lnTo>
                    <a:pt x="377" y="592"/>
                  </a:lnTo>
                  <a:lnTo>
                    <a:pt x="164" y="269"/>
                  </a:lnTo>
                  <a:lnTo>
                    <a:pt x="164" y="764"/>
                  </a:lnTo>
                  <a:lnTo>
                    <a:pt x="0" y="76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4103688" y="20638"/>
              <a:ext cx="1030288" cy="1212850"/>
            </a:xfrm>
            <a:custGeom>
              <a:avLst/>
              <a:gdLst>
                <a:gd name="T0" fmla="*/ 0 w 2155"/>
                <a:gd name="T1" fmla="*/ 0 h 2535"/>
                <a:gd name="T2" fmla="*/ 1177 w 2155"/>
                <a:gd name="T3" fmla="*/ 0 h 2535"/>
                <a:gd name="T4" fmla="*/ 1840 w 2155"/>
                <a:gd name="T5" fmla="*/ 225 h 2535"/>
                <a:gd name="T6" fmla="*/ 2013 w 2155"/>
                <a:gd name="T7" fmla="*/ 656 h 2535"/>
                <a:gd name="T8" fmla="*/ 2013 w 2155"/>
                <a:gd name="T9" fmla="*/ 663 h 2535"/>
                <a:gd name="T10" fmla="*/ 1680 w 2155"/>
                <a:gd name="T11" fmla="*/ 1210 h 2535"/>
                <a:gd name="T12" fmla="*/ 2155 w 2155"/>
                <a:gd name="T13" fmla="*/ 1832 h 2535"/>
                <a:gd name="T14" fmla="*/ 2155 w 2155"/>
                <a:gd name="T15" fmla="*/ 1840 h 2535"/>
                <a:gd name="T16" fmla="*/ 1206 w 2155"/>
                <a:gd name="T17" fmla="*/ 2535 h 2535"/>
                <a:gd name="T18" fmla="*/ 0 w 2155"/>
                <a:gd name="T19" fmla="*/ 2535 h 2535"/>
                <a:gd name="T20" fmla="*/ 0 w 2155"/>
                <a:gd name="T21" fmla="*/ 0 h 2535"/>
                <a:gd name="T22" fmla="*/ 1459 w 2155"/>
                <a:gd name="T23" fmla="*/ 750 h 2535"/>
                <a:gd name="T24" fmla="*/ 1094 w 2155"/>
                <a:gd name="T25" fmla="*/ 489 h 2535"/>
                <a:gd name="T26" fmla="*/ 543 w 2155"/>
                <a:gd name="T27" fmla="*/ 489 h 2535"/>
                <a:gd name="T28" fmla="*/ 543 w 2155"/>
                <a:gd name="T29" fmla="*/ 1025 h 2535"/>
                <a:gd name="T30" fmla="*/ 1058 w 2155"/>
                <a:gd name="T31" fmla="*/ 1025 h 2535"/>
                <a:gd name="T32" fmla="*/ 1459 w 2155"/>
                <a:gd name="T33" fmla="*/ 757 h 2535"/>
                <a:gd name="T34" fmla="*/ 1459 w 2155"/>
                <a:gd name="T35" fmla="*/ 750 h 2535"/>
                <a:gd name="T36" fmla="*/ 1188 w 2155"/>
                <a:gd name="T37" fmla="*/ 1488 h 2535"/>
                <a:gd name="T38" fmla="*/ 543 w 2155"/>
                <a:gd name="T39" fmla="*/ 1488 h 2535"/>
                <a:gd name="T40" fmla="*/ 543 w 2155"/>
                <a:gd name="T41" fmla="*/ 2046 h 2535"/>
                <a:gd name="T42" fmla="*/ 1206 w 2155"/>
                <a:gd name="T43" fmla="*/ 2046 h 2535"/>
                <a:gd name="T44" fmla="*/ 1601 w 2155"/>
                <a:gd name="T45" fmla="*/ 1771 h 2535"/>
                <a:gd name="T46" fmla="*/ 1601 w 2155"/>
                <a:gd name="T47" fmla="*/ 1764 h 2535"/>
                <a:gd name="T48" fmla="*/ 1188 w 2155"/>
                <a:gd name="T49" fmla="*/ 1488 h 2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55" h="2535">
                  <a:moveTo>
                    <a:pt x="0" y="0"/>
                  </a:moveTo>
                  <a:cubicBezTo>
                    <a:pt x="1177" y="0"/>
                    <a:pt x="1177" y="0"/>
                    <a:pt x="1177" y="0"/>
                  </a:cubicBezTo>
                  <a:cubicBezTo>
                    <a:pt x="1467" y="0"/>
                    <a:pt x="1695" y="80"/>
                    <a:pt x="1840" y="225"/>
                  </a:cubicBezTo>
                  <a:cubicBezTo>
                    <a:pt x="1955" y="341"/>
                    <a:pt x="2013" y="482"/>
                    <a:pt x="2013" y="656"/>
                  </a:cubicBezTo>
                  <a:cubicBezTo>
                    <a:pt x="2013" y="663"/>
                    <a:pt x="2013" y="663"/>
                    <a:pt x="2013" y="663"/>
                  </a:cubicBezTo>
                  <a:cubicBezTo>
                    <a:pt x="2013" y="949"/>
                    <a:pt x="1861" y="1108"/>
                    <a:pt x="1680" y="1210"/>
                  </a:cubicBezTo>
                  <a:cubicBezTo>
                    <a:pt x="1974" y="1322"/>
                    <a:pt x="2155" y="1492"/>
                    <a:pt x="2155" y="1832"/>
                  </a:cubicBezTo>
                  <a:cubicBezTo>
                    <a:pt x="2155" y="1840"/>
                    <a:pt x="2155" y="1840"/>
                    <a:pt x="2155" y="1840"/>
                  </a:cubicBezTo>
                  <a:cubicBezTo>
                    <a:pt x="2155" y="2303"/>
                    <a:pt x="1778" y="2535"/>
                    <a:pt x="1206" y="2535"/>
                  </a:cubicBezTo>
                  <a:cubicBezTo>
                    <a:pt x="0" y="2535"/>
                    <a:pt x="0" y="2535"/>
                    <a:pt x="0" y="2535"/>
                  </a:cubicBezTo>
                  <a:lnTo>
                    <a:pt x="0" y="0"/>
                  </a:lnTo>
                  <a:close/>
                  <a:moveTo>
                    <a:pt x="1459" y="750"/>
                  </a:moveTo>
                  <a:cubicBezTo>
                    <a:pt x="1459" y="583"/>
                    <a:pt x="1329" y="489"/>
                    <a:pt x="1094" y="489"/>
                  </a:cubicBezTo>
                  <a:cubicBezTo>
                    <a:pt x="543" y="489"/>
                    <a:pt x="543" y="489"/>
                    <a:pt x="543" y="489"/>
                  </a:cubicBezTo>
                  <a:cubicBezTo>
                    <a:pt x="543" y="1025"/>
                    <a:pt x="543" y="1025"/>
                    <a:pt x="543" y="1025"/>
                  </a:cubicBezTo>
                  <a:cubicBezTo>
                    <a:pt x="1058" y="1025"/>
                    <a:pt x="1058" y="1025"/>
                    <a:pt x="1058" y="1025"/>
                  </a:cubicBezTo>
                  <a:cubicBezTo>
                    <a:pt x="1304" y="1025"/>
                    <a:pt x="1459" y="945"/>
                    <a:pt x="1459" y="757"/>
                  </a:cubicBezTo>
                  <a:lnTo>
                    <a:pt x="1459" y="750"/>
                  </a:lnTo>
                  <a:close/>
                  <a:moveTo>
                    <a:pt x="1188" y="1488"/>
                  </a:moveTo>
                  <a:cubicBezTo>
                    <a:pt x="543" y="1488"/>
                    <a:pt x="543" y="1488"/>
                    <a:pt x="543" y="1488"/>
                  </a:cubicBezTo>
                  <a:cubicBezTo>
                    <a:pt x="543" y="2046"/>
                    <a:pt x="543" y="2046"/>
                    <a:pt x="543" y="2046"/>
                  </a:cubicBezTo>
                  <a:cubicBezTo>
                    <a:pt x="1206" y="2046"/>
                    <a:pt x="1206" y="2046"/>
                    <a:pt x="1206" y="2046"/>
                  </a:cubicBezTo>
                  <a:cubicBezTo>
                    <a:pt x="1452" y="2046"/>
                    <a:pt x="1601" y="1959"/>
                    <a:pt x="1601" y="1771"/>
                  </a:cubicBezTo>
                  <a:cubicBezTo>
                    <a:pt x="1601" y="1764"/>
                    <a:pt x="1601" y="1764"/>
                    <a:pt x="1601" y="1764"/>
                  </a:cubicBezTo>
                  <a:cubicBezTo>
                    <a:pt x="1601" y="1593"/>
                    <a:pt x="1474" y="1488"/>
                    <a:pt x="1188" y="14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5903913" y="17463"/>
              <a:ext cx="1003300" cy="1212850"/>
            </a:xfrm>
            <a:custGeom>
              <a:avLst/>
              <a:gdLst>
                <a:gd name="T0" fmla="*/ 232 w 632"/>
                <a:gd name="T1" fmla="*/ 155 h 764"/>
                <a:gd name="T2" fmla="*/ 0 w 632"/>
                <a:gd name="T3" fmla="*/ 155 h 764"/>
                <a:gd name="T4" fmla="*/ 0 w 632"/>
                <a:gd name="T5" fmla="*/ 0 h 764"/>
                <a:gd name="T6" fmla="*/ 632 w 632"/>
                <a:gd name="T7" fmla="*/ 0 h 764"/>
                <a:gd name="T8" fmla="*/ 632 w 632"/>
                <a:gd name="T9" fmla="*/ 155 h 764"/>
                <a:gd name="T10" fmla="*/ 400 w 632"/>
                <a:gd name="T11" fmla="*/ 155 h 764"/>
                <a:gd name="T12" fmla="*/ 400 w 632"/>
                <a:gd name="T13" fmla="*/ 764 h 764"/>
                <a:gd name="T14" fmla="*/ 232 w 632"/>
                <a:gd name="T15" fmla="*/ 764 h 764"/>
                <a:gd name="T16" fmla="*/ 232 w 632"/>
                <a:gd name="T17" fmla="*/ 155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2" h="764">
                  <a:moveTo>
                    <a:pt x="232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632" y="0"/>
                  </a:lnTo>
                  <a:lnTo>
                    <a:pt x="632" y="155"/>
                  </a:lnTo>
                  <a:lnTo>
                    <a:pt x="400" y="155"/>
                  </a:lnTo>
                  <a:lnTo>
                    <a:pt x="400" y="764"/>
                  </a:lnTo>
                  <a:lnTo>
                    <a:pt x="232" y="764"/>
                  </a:lnTo>
                  <a:lnTo>
                    <a:pt x="232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5373688" y="96678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5373688" y="20638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373688" y="493713"/>
              <a:ext cx="266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350" y="1814513"/>
              <a:ext cx="290513" cy="341313"/>
            </a:xfrm>
            <a:custGeom>
              <a:avLst/>
              <a:gdLst>
                <a:gd name="T0" fmla="*/ 0 w 183"/>
                <a:gd name="T1" fmla="*/ 0 h 215"/>
                <a:gd name="T2" fmla="*/ 24 w 183"/>
                <a:gd name="T3" fmla="*/ 0 h 215"/>
                <a:gd name="T4" fmla="*/ 24 w 183"/>
                <a:gd name="T5" fmla="*/ 128 h 215"/>
                <a:gd name="T6" fmla="*/ 148 w 183"/>
                <a:gd name="T7" fmla="*/ 0 h 215"/>
                <a:gd name="T8" fmla="*/ 179 w 183"/>
                <a:gd name="T9" fmla="*/ 0 h 215"/>
                <a:gd name="T10" fmla="*/ 87 w 183"/>
                <a:gd name="T11" fmla="*/ 94 h 215"/>
                <a:gd name="T12" fmla="*/ 183 w 183"/>
                <a:gd name="T13" fmla="*/ 215 h 215"/>
                <a:gd name="T14" fmla="*/ 153 w 183"/>
                <a:gd name="T15" fmla="*/ 215 h 215"/>
                <a:gd name="T16" fmla="*/ 70 w 183"/>
                <a:gd name="T17" fmla="*/ 111 h 215"/>
                <a:gd name="T18" fmla="*/ 24 w 183"/>
                <a:gd name="T19" fmla="*/ 157 h 215"/>
                <a:gd name="T20" fmla="*/ 24 w 183"/>
                <a:gd name="T21" fmla="*/ 215 h 215"/>
                <a:gd name="T22" fmla="*/ 0 w 183"/>
                <a:gd name="T23" fmla="*/ 215 h 215"/>
                <a:gd name="T24" fmla="*/ 0 w 183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5">
                  <a:moveTo>
                    <a:pt x="0" y="0"/>
                  </a:moveTo>
                  <a:lnTo>
                    <a:pt x="24" y="0"/>
                  </a:lnTo>
                  <a:lnTo>
                    <a:pt x="24" y="128"/>
                  </a:lnTo>
                  <a:lnTo>
                    <a:pt x="148" y="0"/>
                  </a:lnTo>
                  <a:lnTo>
                    <a:pt x="179" y="0"/>
                  </a:lnTo>
                  <a:lnTo>
                    <a:pt x="87" y="94"/>
                  </a:lnTo>
                  <a:lnTo>
                    <a:pt x="183" y="215"/>
                  </a:lnTo>
                  <a:lnTo>
                    <a:pt x="153" y="215"/>
                  </a:lnTo>
                  <a:lnTo>
                    <a:pt x="70" y="111"/>
                  </a:lnTo>
                  <a:lnTo>
                    <a:pt x="24" y="157"/>
                  </a:lnTo>
                  <a:lnTo>
                    <a:pt x="24" y="215"/>
                  </a:lnTo>
                  <a:lnTo>
                    <a:pt x="0" y="21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320675" y="1898650"/>
              <a:ext cx="261938" cy="261938"/>
            </a:xfrm>
            <a:custGeom>
              <a:avLst/>
              <a:gdLst>
                <a:gd name="T0" fmla="*/ 0 w 549"/>
                <a:gd name="T1" fmla="*/ 277 h 550"/>
                <a:gd name="T2" fmla="*/ 0 w 549"/>
                <a:gd name="T3" fmla="*/ 275 h 550"/>
                <a:gd name="T4" fmla="*/ 275 w 549"/>
                <a:gd name="T5" fmla="*/ 0 h 550"/>
                <a:gd name="T6" fmla="*/ 549 w 549"/>
                <a:gd name="T7" fmla="*/ 273 h 550"/>
                <a:gd name="T8" fmla="*/ 549 w 549"/>
                <a:gd name="T9" fmla="*/ 275 h 550"/>
                <a:gd name="T10" fmla="*/ 273 w 549"/>
                <a:gd name="T11" fmla="*/ 550 h 550"/>
                <a:gd name="T12" fmla="*/ 0 w 549"/>
                <a:gd name="T13" fmla="*/ 277 h 550"/>
                <a:gd name="T14" fmla="*/ 468 w 549"/>
                <a:gd name="T15" fmla="*/ 277 h 550"/>
                <a:gd name="T16" fmla="*/ 468 w 549"/>
                <a:gd name="T17" fmla="*/ 275 h 550"/>
                <a:gd name="T18" fmla="*/ 273 w 549"/>
                <a:gd name="T19" fmla="*/ 70 h 550"/>
                <a:gd name="T20" fmla="*/ 80 w 549"/>
                <a:gd name="T21" fmla="*/ 273 h 550"/>
                <a:gd name="T22" fmla="*/ 80 w 549"/>
                <a:gd name="T23" fmla="*/ 275 h 550"/>
                <a:gd name="T24" fmla="*/ 275 w 549"/>
                <a:gd name="T25" fmla="*/ 480 h 550"/>
                <a:gd name="T26" fmla="*/ 468 w 549"/>
                <a:gd name="T27" fmla="*/ 27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9" h="550">
                  <a:moveTo>
                    <a:pt x="0" y="277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127"/>
                    <a:pt x="116" y="0"/>
                    <a:pt x="275" y="0"/>
                  </a:cubicBezTo>
                  <a:cubicBezTo>
                    <a:pt x="433" y="0"/>
                    <a:pt x="549" y="125"/>
                    <a:pt x="549" y="273"/>
                  </a:cubicBezTo>
                  <a:cubicBezTo>
                    <a:pt x="549" y="275"/>
                    <a:pt x="549" y="275"/>
                    <a:pt x="549" y="275"/>
                  </a:cubicBezTo>
                  <a:cubicBezTo>
                    <a:pt x="549" y="424"/>
                    <a:pt x="432" y="550"/>
                    <a:pt x="273" y="550"/>
                  </a:cubicBezTo>
                  <a:cubicBezTo>
                    <a:pt x="115" y="550"/>
                    <a:pt x="0" y="426"/>
                    <a:pt x="0" y="277"/>
                  </a:cubicBezTo>
                  <a:close/>
                  <a:moveTo>
                    <a:pt x="468" y="277"/>
                  </a:moveTo>
                  <a:cubicBezTo>
                    <a:pt x="468" y="275"/>
                    <a:pt x="468" y="275"/>
                    <a:pt x="468" y="275"/>
                  </a:cubicBezTo>
                  <a:cubicBezTo>
                    <a:pt x="468" y="162"/>
                    <a:pt x="384" y="70"/>
                    <a:pt x="273" y="70"/>
                  </a:cubicBezTo>
                  <a:cubicBezTo>
                    <a:pt x="159" y="70"/>
                    <a:pt x="80" y="162"/>
                    <a:pt x="80" y="273"/>
                  </a:cubicBezTo>
                  <a:cubicBezTo>
                    <a:pt x="80" y="275"/>
                    <a:pt x="80" y="275"/>
                    <a:pt x="80" y="275"/>
                  </a:cubicBezTo>
                  <a:cubicBezTo>
                    <a:pt x="80" y="388"/>
                    <a:pt x="164" y="480"/>
                    <a:pt x="275" y="480"/>
                  </a:cubicBezTo>
                  <a:cubicBezTo>
                    <a:pt x="389" y="480"/>
                    <a:pt x="468" y="388"/>
                    <a:pt x="46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4928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9 w 799"/>
                <a:gd name="T3" fmla="*/ 12 h 538"/>
                <a:gd name="T4" fmla="*/ 79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9 w 799"/>
                <a:gd name="T33" fmla="*/ 238 h 538"/>
                <a:gd name="T34" fmla="*/ 79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6" y="47"/>
                    <a:pt x="512" y="0"/>
                    <a:pt x="603" y="0"/>
                  </a:cubicBezTo>
                  <a:cubicBezTo>
                    <a:pt x="725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70" y="72"/>
                    <a:pt x="584" y="72"/>
                  </a:cubicBezTo>
                  <a:cubicBezTo>
                    <a:pt x="505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9" y="141"/>
                    <a:pt x="79" y="238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112838" y="1898650"/>
              <a:ext cx="382588" cy="257175"/>
            </a:xfrm>
            <a:custGeom>
              <a:avLst/>
              <a:gdLst>
                <a:gd name="T0" fmla="*/ 0 w 799"/>
                <a:gd name="T1" fmla="*/ 12 h 538"/>
                <a:gd name="T2" fmla="*/ 78 w 799"/>
                <a:gd name="T3" fmla="*/ 12 h 538"/>
                <a:gd name="T4" fmla="*/ 78 w 799"/>
                <a:gd name="T5" fmla="*/ 100 h 538"/>
                <a:gd name="T6" fmla="*/ 249 w 799"/>
                <a:gd name="T7" fmla="*/ 0 h 538"/>
                <a:gd name="T8" fmla="*/ 418 w 799"/>
                <a:gd name="T9" fmla="*/ 105 h 538"/>
                <a:gd name="T10" fmla="*/ 603 w 799"/>
                <a:gd name="T11" fmla="*/ 0 h 538"/>
                <a:gd name="T12" fmla="*/ 799 w 799"/>
                <a:gd name="T13" fmla="*/ 212 h 538"/>
                <a:gd name="T14" fmla="*/ 799 w 799"/>
                <a:gd name="T15" fmla="*/ 538 h 538"/>
                <a:gd name="T16" fmla="*/ 720 w 799"/>
                <a:gd name="T17" fmla="*/ 538 h 538"/>
                <a:gd name="T18" fmla="*/ 720 w 799"/>
                <a:gd name="T19" fmla="*/ 230 h 538"/>
                <a:gd name="T20" fmla="*/ 584 w 799"/>
                <a:gd name="T21" fmla="*/ 72 h 538"/>
                <a:gd name="T22" fmla="*/ 439 w 799"/>
                <a:gd name="T23" fmla="*/ 235 h 538"/>
                <a:gd name="T24" fmla="*/ 439 w 799"/>
                <a:gd name="T25" fmla="*/ 538 h 538"/>
                <a:gd name="T26" fmla="*/ 361 w 799"/>
                <a:gd name="T27" fmla="*/ 538 h 538"/>
                <a:gd name="T28" fmla="*/ 361 w 799"/>
                <a:gd name="T29" fmla="*/ 228 h 538"/>
                <a:gd name="T30" fmla="*/ 225 w 799"/>
                <a:gd name="T31" fmla="*/ 72 h 538"/>
                <a:gd name="T32" fmla="*/ 78 w 799"/>
                <a:gd name="T33" fmla="*/ 238 h 538"/>
                <a:gd name="T34" fmla="*/ 78 w 799"/>
                <a:gd name="T35" fmla="*/ 538 h 538"/>
                <a:gd name="T36" fmla="*/ 0 w 799"/>
                <a:gd name="T37" fmla="*/ 538 h 538"/>
                <a:gd name="T38" fmla="*/ 0 w 799"/>
                <a:gd name="T39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9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0"/>
                    <a:pt x="78" y="100"/>
                    <a:pt x="78" y="100"/>
                  </a:cubicBezTo>
                  <a:cubicBezTo>
                    <a:pt x="113" y="48"/>
                    <a:pt x="160" y="0"/>
                    <a:pt x="249" y="0"/>
                  </a:cubicBezTo>
                  <a:cubicBezTo>
                    <a:pt x="334" y="0"/>
                    <a:pt x="389" y="46"/>
                    <a:pt x="418" y="105"/>
                  </a:cubicBezTo>
                  <a:cubicBezTo>
                    <a:pt x="455" y="47"/>
                    <a:pt x="511" y="0"/>
                    <a:pt x="603" y="0"/>
                  </a:cubicBezTo>
                  <a:cubicBezTo>
                    <a:pt x="724" y="0"/>
                    <a:pt x="799" y="82"/>
                    <a:pt x="799" y="212"/>
                  </a:cubicBezTo>
                  <a:cubicBezTo>
                    <a:pt x="799" y="538"/>
                    <a:pt x="799" y="538"/>
                    <a:pt x="799" y="538"/>
                  </a:cubicBezTo>
                  <a:cubicBezTo>
                    <a:pt x="720" y="538"/>
                    <a:pt x="720" y="538"/>
                    <a:pt x="720" y="538"/>
                  </a:cubicBezTo>
                  <a:cubicBezTo>
                    <a:pt x="720" y="230"/>
                    <a:pt x="720" y="230"/>
                    <a:pt x="720" y="230"/>
                  </a:cubicBezTo>
                  <a:cubicBezTo>
                    <a:pt x="720" y="129"/>
                    <a:pt x="669" y="72"/>
                    <a:pt x="584" y="72"/>
                  </a:cubicBezTo>
                  <a:cubicBezTo>
                    <a:pt x="504" y="72"/>
                    <a:pt x="439" y="131"/>
                    <a:pt x="439" y="235"/>
                  </a:cubicBezTo>
                  <a:cubicBezTo>
                    <a:pt x="439" y="538"/>
                    <a:pt x="439" y="538"/>
                    <a:pt x="439" y="538"/>
                  </a:cubicBezTo>
                  <a:cubicBezTo>
                    <a:pt x="361" y="538"/>
                    <a:pt x="361" y="538"/>
                    <a:pt x="361" y="538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61" y="130"/>
                    <a:pt x="309" y="72"/>
                    <a:pt x="225" y="72"/>
                  </a:cubicBezTo>
                  <a:cubicBezTo>
                    <a:pt x="142" y="72"/>
                    <a:pt x="78" y="141"/>
                    <a:pt x="78" y="238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71625" y="1903413"/>
              <a:ext cx="220663" cy="257175"/>
            </a:xfrm>
            <a:custGeom>
              <a:avLst/>
              <a:gdLst>
                <a:gd name="T0" fmla="*/ 0 w 460"/>
                <a:gd name="T1" fmla="*/ 327 h 537"/>
                <a:gd name="T2" fmla="*/ 0 w 460"/>
                <a:gd name="T3" fmla="*/ 0 h 537"/>
                <a:gd name="T4" fmla="*/ 79 w 460"/>
                <a:gd name="T5" fmla="*/ 0 h 537"/>
                <a:gd name="T6" fmla="*/ 79 w 460"/>
                <a:gd name="T7" fmla="*/ 307 h 537"/>
                <a:gd name="T8" fmla="*/ 225 w 460"/>
                <a:gd name="T9" fmla="*/ 466 h 537"/>
                <a:gd name="T10" fmla="*/ 382 w 460"/>
                <a:gd name="T11" fmla="*/ 301 h 537"/>
                <a:gd name="T12" fmla="*/ 382 w 460"/>
                <a:gd name="T13" fmla="*/ 0 h 537"/>
                <a:gd name="T14" fmla="*/ 460 w 460"/>
                <a:gd name="T15" fmla="*/ 0 h 537"/>
                <a:gd name="T16" fmla="*/ 460 w 460"/>
                <a:gd name="T17" fmla="*/ 526 h 537"/>
                <a:gd name="T18" fmla="*/ 382 w 460"/>
                <a:gd name="T19" fmla="*/ 526 h 537"/>
                <a:gd name="T20" fmla="*/ 382 w 460"/>
                <a:gd name="T21" fmla="*/ 434 h 537"/>
                <a:gd name="T22" fmla="*/ 202 w 460"/>
                <a:gd name="T23" fmla="*/ 537 h 537"/>
                <a:gd name="T24" fmla="*/ 0 w 460"/>
                <a:gd name="T25" fmla="*/ 32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7">
                  <a:moveTo>
                    <a:pt x="0" y="32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307"/>
                    <a:pt x="79" y="307"/>
                    <a:pt x="79" y="307"/>
                  </a:cubicBezTo>
                  <a:cubicBezTo>
                    <a:pt x="79" y="405"/>
                    <a:pt x="132" y="466"/>
                    <a:pt x="225" y="466"/>
                  </a:cubicBezTo>
                  <a:cubicBezTo>
                    <a:pt x="314" y="466"/>
                    <a:pt x="382" y="400"/>
                    <a:pt x="382" y="301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60" y="526"/>
                    <a:pt x="460" y="526"/>
                    <a:pt x="460" y="526"/>
                  </a:cubicBezTo>
                  <a:cubicBezTo>
                    <a:pt x="382" y="526"/>
                    <a:pt x="382" y="526"/>
                    <a:pt x="382" y="526"/>
                  </a:cubicBezTo>
                  <a:cubicBezTo>
                    <a:pt x="382" y="434"/>
                    <a:pt x="382" y="434"/>
                    <a:pt x="382" y="434"/>
                  </a:cubicBezTo>
                  <a:cubicBezTo>
                    <a:pt x="347" y="492"/>
                    <a:pt x="293" y="537"/>
                    <a:pt x="202" y="537"/>
                  </a:cubicBezTo>
                  <a:cubicBezTo>
                    <a:pt x="75" y="537"/>
                    <a:pt x="0" y="452"/>
                    <a:pt x="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876425" y="1898650"/>
              <a:ext cx="219075" cy="257175"/>
            </a:xfrm>
            <a:custGeom>
              <a:avLst/>
              <a:gdLst>
                <a:gd name="T0" fmla="*/ 0 w 460"/>
                <a:gd name="T1" fmla="*/ 12 h 538"/>
                <a:gd name="T2" fmla="*/ 79 w 460"/>
                <a:gd name="T3" fmla="*/ 12 h 538"/>
                <a:gd name="T4" fmla="*/ 79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9 w 460"/>
                <a:gd name="T19" fmla="*/ 237 h 538"/>
                <a:gd name="T20" fmla="*/ 79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9" y="12"/>
                    <a:pt x="79" y="12"/>
                    <a:pt x="79" y="1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9" y="138"/>
                    <a:pt x="79" y="237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216058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3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3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2463800" y="1897063"/>
              <a:ext cx="141288" cy="258763"/>
            </a:xfrm>
            <a:custGeom>
              <a:avLst/>
              <a:gdLst>
                <a:gd name="T0" fmla="*/ 0 w 294"/>
                <a:gd name="T1" fmla="*/ 14 h 540"/>
                <a:gd name="T2" fmla="*/ 79 w 294"/>
                <a:gd name="T3" fmla="*/ 14 h 540"/>
                <a:gd name="T4" fmla="*/ 79 w 294"/>
                <a:gd name="T5" fmla="*/ 151 h 540"/>
                <a:gd name="T6" fmla="*/ 294 w 294"/>
                <a:gd name="T7" fmla="*/ 4 h 540"/>
                <a:gd name="T8" fmla="*/ 294 w 294"/>
                <a:gd name="T9" fmla="*/ 89 h 540"/>
                <a:gd name="T10" fmla="*/ 288 w 294"/>
                <a:gd name="T11" fmla="*/ 89 h 540"/>
                <a:gd name="T12" fmla="*/ 79 w 294"/>
                <a:gd name="T13" fmla="*/ 330 h 540"/>
                <a:gd name="T14" fmla="*/ 79 w 294"/>
                <a:gd name="T15" fmla="*/ 540 h 540"/>
                <a:gd name="T16" fmla="*/ 0 w 294"/>
                <a:gd name="T17" fmla="*/ 540 h 540"/>
                <a:gd name="T18" fmla="*/ 0 w 294"/>
                <a:gd name="T19" fmla="*/ 1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540">
                  <a:moveTo>
                    <a:pt x="0" y="14"/>
                  </a:moveTo>
                  <a:cubicBezTo>
                    <a:pt x="79" y="14"/>
                    <a:pt x="79" y="14"/>
                    <a:pt x="79" y="14"/>
                  </a:cubicBezTo>
                  <a:cubicBezTo>
                    <a:pt x="79" y="151"/>
                    <a:pt x="79" y="151"/>
                    <a:pt x="79" y="151"/>
                  </a:cubicBezTo>
                  <a:cubicBezTo>
                    <a:pt x="118" y="63"/>
                    <a:pt x="194" y="0"/>
                    <a:pt x="294" y="4"/>
                  </a:cubicBezTo>
                  <a:cubicBezTo>
                    <a:pt x="294" y="89"/>
                    <a:pt x="294" y="89"/>
                    <a:pt x="294" y="89"/>
                  </a:cubicBezTo>
                  <a:cubicBezTo>
                    <a:pt x="288" y="89"/>
                    <a:pt x="288" y="89"/>
                    <a:pt x="288" y="89"/>
                  </a:cubicBezTo>
                  <a:cubicBezTo>
                    <a:pt x="173" y="89"/>
                    <a:pt x="79" y="171"/>
                    <a:pt x="79" y="330"/>
                  </a:cubicBezTo>
                  <a:cubicBezTo>
                    <a:pt x="79" y="540"/>
                    <a:pt x="79" y="540"/>
                    <a:pt x="79" y="540"/>
                  </a:cubicBezTo>
                  <a:cubicBezTo>
                    <a:pt x="0" y="540"/>
                    <a:pt x="0" y="540"/>
                    <a:pt x="0" y="540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2660650" y="1898650"/>
              <a:ext cx="220663" cy="257175"/>
            </a:xfrm>
            <a:custGeom>
              <a:avLst/>
              <a:gdLst>
                <a:gd name="T0" fmla="*/ 0 w 460"/>
                <a:gd name="T1" fmla="*/ 12 h 538"/>
                <a:gd name="T2" fmla="*/ 78 w 460"/>
                <a:gd name="T3" fmla="*/ 12 h 538"/>
                <a:gd name="T4" fmla="*/ 78 w 460"/>
                <a:gd name="T5" fmla="*/ 103 h 538"/>
                <a:gd name="T6" fmla="*/ 259 w 460"/>
                <a:gd name="T7" fmla="*/ 0 h 538"/>
                <a:gd name="T8" fmla="*/ 460 w 460"/>
                <a:gd name="T9" fmla="*/ 211 h 538"/>
                <a:gd name="T10" fmla="*/ 460 w 460"/>
                <a:gd name="T11" fmla="*/ 538 h 538"/>
                <a:gd name="T12" fmla="*/ 382 w 460"/>
                <a:gd name="T13" fmla="*/ 538 h 538"/>
                <a:gd name="T14" fmla="*/ 382 w 460"/>
                <a:gd name="T15" fmla="*/ 230 h 538"/>
                <a:gd name="T16" fmla="*/ 236 w 460"/>
                <a:gd name="T17" fmla="*/ 72 h 538"/>
                <a:gd name="T18" fmla="*/ 78 w 460"/>
                <a:gd name="T19" fmla="*/ 237 h 538"/>
                <a:gd name="T20" fmla="*/ 78 w 460"/>
                <a:gd name="T21" fmla="*/ 538 h 538"/>
                <a:gd name="T22" fmla="*/ 0 w 460"/>
                <a:gd name="T23" fmla="*/ 538 h 538"/>
                <a:gd name="T24" fmla="*/ 0 w 460"/>
                <a:gd name="T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0" h="538">
                  <a:moveTo>
                    <a:pt x="0" y="12"/>
                  </a:moveTo>
                  <a:cubicBezTo>
                    <a:pt x="78" y="12"/>
                    <a:pt x="78" y="12"/>
                    <a:pt x="78" y="12"/>
                  </a:cubicBezTo>
                  <a:cubicBezTo>
                    <a:pt x="78" y="103"/>
                    <a:pt x="78" y="103"/>
                    <a:pt x="78" y="103"/>
                  </a:cubicBezTo>
                  <a:cubicBezTo>
                    <a:pt x="113" y="46"/>
                    <a:pt x="168" y="0"/>
                    <a:pt x="259" y="0"/>
                  </a:cubicBezTo>
                  <a:cubicBezTo>
                    <a:pt x="386" y="0"/>
                    <a:pt x="460" y="86"/>
                    <a:pt x="460" y="211"/>
                  </a:cubicBezTo>
                  <a:cubicBezTo>
                    <a:pt x="460" y="538"/>
                    <a:pt x="460" y="538"/>
                    <a:pt x="460" y="538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82" y="230"/>
                    <a:pt x="382" y="230"/>
                    <a:pt x="382" y="230"/>
                  </a:cubicBezTo>
                  <a:cubicBezTo>
                    <a:pt x="382" y="133"/>
                    <a:pt x="329" y="72"/>
                    <a:pt x="236" y="72"/>
                  </a:cubicBezTo>
                  <a:cubicBezTo>
                    <a:pt x="146" y="72"/>
                    <a:pt x="78" y="138"/>
                    <a:pt x="78" y="237"/>
                  </a:cubicBezTo>
                  <a:cubicBezTo>
                    <a:pt x="78" y="538"/>
                    <a:pt x="78" y="538"/>
                    <a:pt x="78" y="538"/>
                  </a:cubicBezTo>
                  <a:cubicBezTo>
                    <a:pt x="0" y="538"/>
                    <a:pt x="0" y="538"/>
                    <a:pt x="0" y="538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" name="Freeform 22"/>
            <p:cNvSpPr>
              <a:spLocks noEditPoints="1"/>
            </p:cNvSpPr>
            <p:nvPr/>
          </p:nvSpPr>
          <p:spPr bwMode="auto">
            <a:xfrm>
              <a:off x="2946400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5 w 498"/>
                <a:gd name="T13" fmla="*/ 482 h 550"/>
                <a:gd name="T14" fmla="*/ 431 w 498"/>
                <a:gd name="T15" fmla="*/ 408 h 550"/>
                <a:gd name="T16" fmla="*/ 480 w 498"/>
                <a:gd name="T17" fmla="*/ 452 h 550"/>
                <a:gd name="T18" fmla="*/ 263 w 498"/>
                <a:gd name="T19" fmla="*/ 550 h 550"/>
                <a:gd name="T20" fmla="*/ 0 w 498"/>
                <a:gd name="T21" fmla="*/ 276 h 550"/>
                <a:gd name="T22" fmla="*/ 419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9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1" y="418"/>
                    <a:pt x="171" y="482"/>
                    <a:pt x="265" y="482"/>
                  </a:cubicBezTo>
                  <a:cubicBezTo>
                    <a:pt x="337" y="482"/>
                    <a:pt x="388" y="453"/>
                    <a:pt x="431" y="408"/>
                  </a:cubicBezTo>
                  <a:cubicBezTo>
                    <a:pt x="480" y="452"/>
                    <a:pt x="480" y="452"/>
                    <a:pt x="480" y="452"/>
                  </a:cubicBezTo>
                  <a:cubicBezTo>
                    <a:pt x="427" y="511"/>
                    <a:pt x="363" y="550"/>
                    <a:pt x="263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9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9" y="67"/>
                    <a:pt x="90" y="143"/>
                    <a:pt x="79" y="246"/>
                  </a:cubicBezTo>
                  <a:lnTo>
                    <a:pt x="41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3228975" y="1898650"/>
              <a:ext cx="193675" cy="261938"/>
            </a:xfrm>
            <a:custGeom>
              <a:avLst/>
              <a:gdLst>
                <a:gd name="T0" fmla="*/ 0 w 405"/>
                <a:gd name="T1" fmla="*/ 469 h 546"/>
                <a:gd name="T2" fmla="*/ 39 w 405"/>
                <a:gd name="T3" fmla="*/ 413 h 546"/>
                <a:gd name="T4" fmla="*/ 222 w 405"/>
                <a:gd name="T5" fmla="*/ 480 h 546"/>
                <a:gd name="T6" fmla="*/ 331 w 405"/>
                <a:gd name="T7" fmla="*/ 397 h 546"/>
                <a:gd name="T8" fmla="*/ 331 w 405"/>
                <a:gd name="T9" fmla="*/ 395 h 546"/>
                <a:gd name="T10" fmla="*/ 199 w 405"/>
                <a:gd name="T11" fmla="*/ 302 h 546"/>
                <a:gd name="T12" fmla="*/ 25 w 405"/>
                <a:gd name="T13" fmla="*/ 153 h 546"/>
                <a:gd name="T14" fmla="*/ 25 w 405"/>
                <a:gd name="T15" fmla="*/ 151 h 546"/>
                <a:gd name="T16" fmla="*/ 204 w 405"/>
                <a:gd name="T17" fmla="*/ 0 h 546"/>
                <a:gd name="T18" fmla="*/ 394 w 405"/>
                <a:gd name="T19" fmla="*/ 58 h 546"/>
                <a:gd name="T20" fmla="*/ 358 w 405"/>
                <a:gd name="T21" fmla="*/ 117 h 546"/>
                <a:gd name="T22" fmla="*/ 202 w 405"/>
                <a:gd name="T23" fmla="*/ 67 h 546"/>
                <a:gd name="T24" fmla="*/ 101 w 405"/>
                <a:gd name="T25" fmla="*/ 143 h 546"/>
                <a:gd name="T26" fmla="*/ 101 w 405"/>
                <a:gd name="T27" fmla="*/ 145 h 546"/>
                <a:gd name="T28" fmla="*/ 236 w 405"/>
                <a:gd name="T29" fmla="*/ 236 h 546"/>
                <a:gd name="T30" fmla="*/ 405 w 405"/>
                <a:gd name="T31" fmla="*/ 386 h 546"/>
                <a:gd name="T32" fmla="*/ 405 w 405"/>
                <a:gd name="T33" fmla="*/ 388 h 546"/>
                <a:gd name="T34" fmla="*/ 218 w 405"/>
                <a:gd name="T35" fmla="*/ 546 h 546"/>
                <a:gd name="T36" fmla="*/ 0 w 405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5" h="546">
                  <a:moveTo>
                    <a:pt x="0" y="469"/>
                  </a:moveTo>
                  <a:cubicBezTo>
                    <a:pt x="39" y="413"/>
                    <a:pt x="39" y="413"/>
                    <a:pt x="39" y="413"/>
                  </a:cubicBezTo>
                  <a:cubicBezTo>
                    <a:pt x="96" y="456"/>
                    <a:pt x="160" y="480"/>
                    <a:pt x="222" y="480"/>
                  </a:cubicBezTo>
                  <a:cubicBezTo>
                    <a:pt x="285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199" y="302"/>
                  </a:cubicBezTo>
                  <a:cubicBezTo>
                    <a:pt x="117" y="278"/>
                    <a:pt x="25" y="250"/>
                    <a:pt x="25" y="153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60"/>
                    <a:pt x="101" y="0"/>
                    <a:pt x="204" y="0"/>
                  </a:cubicBezTo>
                  <a:cubicBezTo>
                    <a:pt x="269" y="0"/>
                    <a:pt x="340" y="23"/>
                    <a:pt x="394" y="58"/>
                  </a:cubicBezTo>
                  <a:cubicBezTo>
                    <a:pt x="358" y="117"/>
                    <a:pt x="358" y="117"/>
                    <a:pt x="358" y="117"/>
                  </a:cubicBezTo>
                  <a:cubicBezTo>
                    <a:pt x="309" y="86"/>
                    <a:pt x="253" y="67"/>
                    <a:pt x="202" y="67"/>
                  </a:cubicBezTo>
                  <a:cubicBezTo>
                    <a:pt x="140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6" y="236"/>
                  </a:cubicBezTo>
                  <a:cubicBezTo>
                    <a:pt x="317" y="260"/>
                    <a:pt x="405" y="292"/>
                    <a:pt x="405" y="386"/>
                  </a:cubicBezTo>
                  <a:cubicBezTo>
                    <a:pt x="405" y="388"/>
                    <a:pt x="405" y="388"/>
                    <a:pt x="405" y="388"/>
                  </a:cubicBezTo>
                  <a:cubicBezTo>
                    <a:pt x="405" y="488"/>
                    <a:pt x="323" y="546"/>
                    <a:pt x="218" y="546"/>
                  </a:cubicBezTo>
                  <a:cubicBezTo>
                    <a:pt x="142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" name="Freeform 24"/>
            <p:cNvSpPr>
              <a:spLocks noEditPoints="1"/>
            </p:cNvSpPr>
            <p:nvPr/>
          </p:nvSpPr>
          <p:spPr bwMode="auto">
            <a:xfrm>
              <a:off x="3638550" y="1806575"/>
              <a:ext cx="42863" cy="349250"/>
            </a:xfrm>
            <a:custGeom>
              <a:avLst/>
              <a:gdLst>
                <a:gd name="T0" fmla="*/ 0 w 27"/>
                <a:gd name="T1" fmla="*/ 0 h 220"/>
                <a:gd name="T2" fmla="*/ 27 w 27"/>
                <a:gd name="T3" fmla="*/ 0 h 220"/>
                <a:gd name="T4" fmla="*/ 27 w 27"/>
                <a:gd name="T5" fmla="*/ 26 h 220"/>
                <a:gd name="T6" fmla="*/ 0 w 27"/>
                <a:gd name="T7" fmla="*/ 26 h 220"/>
                <a:gd name="T8" fmla="*/ 0 w 27"/>
                <a:gd name="T9" fmla="*/ 0 h 220"/>
                <a:gd name="T10" fmla="*/ 2 w 27"/>
                <a:gd name="T11" fmla="*/ 61 h 220"/>
                <a:gd name="T12" fmla="*/ 25 w 27"/>
                <a:gd name="T13" fmla="*/ 61 h 220"/>
                <a:gd name="T14" fmla="*/ 25 w 27"/>
                <a:gd name="T15" fmla="*/ 220 h 220"/>
                <a:gd name="T16" fmla="*/ 2 w 27"/>
                <a:gd name="T17" fmla="*/ 220 h 220"/>
                <a:gd name="T18" fmla="*/ 2 w 27"/>
                <a:gd name="T19" fmla="*/ 6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20">
                  <a:moveTo>
                    <a:pt x="0" y="0"/>
                  </a:moveTo>
                  <a:lnTo>
                    <a:pt x="27" y="0"/>
                  </a:lnTo>
                  <a:lnTo>
                    <a:pt x="27" y="26"/>
                  </a:lnTo>
                  <a:lnTo>
                    <a:pt x="0" y="26"/>
                  </a:lnTo>
                  <a:lnTo>
                    <a:pt x="0" y="0"/>
                  </a:lnTo>
                  <a:close/>
                  <a:moveTo>
                    <a:pt x="2" y="61"/>
                  </a:moveTo>
                  <a:lnTo>
                    <a:pt x="25" y="61"/>
                  </a:lnTo>
                  <a:lnTo>
                    <a:pt x="25" y="220"/>
                  </a:lnTo>
                  <a:lnTo>
                    <a:pt x="2" y="220"/>
                  </a:lnTo>
                  <a:lnTo>
                    <a:pt x="2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3743325" y="1827213"/>
              <a:ext cx="152400" cy="331788"/>
            </a:xfrm>
            <a:custGeom>
              <a:avLst/>
              <a:gdLst>
                <a:gd name="T0" fmla="*/ 74 w 319"/>
                <a:gd name="T1" fmla="*/ 546 h 694"/>
                <a:gd name="T2" fmla="*/ 74 w 319"/>
                <a:gd name="T3" fmla="*/ 228 h 694"/>
                <a:gd name="T4" fmla="*/ 0 w 319"/>
                <a:gd name="T5" fmla="*/ 228 h 694"/>
                <a:gd name="T6" fmla="*/ 0 w 319"/>
                <a:gd name="T7" fmla="*/ 159 h 694"/>
                <a:gd name="T8" fmla="*/ 74 w 319"/>
                <a:gd name="T9" fmla="*/ 159 h 694"/>
                <a:gd name="T10" fmla="*/ 74 w 319"/>
                <a:gd name="T11" fmla="*/ 0 h 694"/>
                <a:gd name="T12" fmla="*/ 152 w 319"/>
                <a:gd name="T13" fmla="*/ 0 h 694"/>
                <a:gd name="T14" fmla="*/ 152 w 319"/>
                <a:gd name="T15" fmla="*/ 159 h 694"/>
                <a:gd name="T16" fmla="*/ 319 w 319"/>
                <a:gd name="T17" fmla="*/ 159 h 694"/>
                <a:gd name="T18" fmla="*/ 319 w 319"/>
                <a:gd name="T19" fmla="*/ 228 h 694"/>
                <a:gd name="T20" fmla="*/ 152 w 319"/>
                <a:gd name="T21" fmla="*/ 228 h 694"/>
                <a:gd name="T22" fmla="*/ 152 w 319"/>
                <a:gd name="T23" fmla="*/ 535 h 694"/>
                <a:gd name="T24" fmla="*/ 241 w 319"/>
                <a:gd name="T25" fmla="*/ 623 h 694"/>
                <a:gd name="T26" fmla="*/ 317 w 319"/>
                <a:gd name="T27" fmla="*/ 605 h 694"/>
                <a:gd name="T28" fmla="*/ 317 w 319"/>
                <a:gd name="T29" fmla="*/ 672 h 694"/>
                <a:gd name="T30" fmla="*/ 222 w 319"/>
                <a:gd name="T31" fmla="*/ 694 h 694"/>
                <a:gd name="T32" fmla="*/ 74 w 319"/>
                <a:gd name="T33" fmla="*/ 5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9" h="694">
                  <a:moveTo>
                    <a:pt x="74" y="546"/>
                  </a:moveTo>
                  <a:cubicBezTo>
                    <a:pt x="74" y="228"/>
                    <a:pt x="74" y="228"/>
                    <a:pt x="74" y="22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74" y="159"/>
                    <a:pt x="74" y="159"/>
                    <a:pt x="74" y="15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159"/>
                    <a:pt x="152" y="159"/>
                    <a:pt x="152" y="159"/>
                  </a:cubicBezTo>
                  <a:cubicBezTo>
                    <a:pt x="319" y="159"/>
                    <a:pt x="319" y="159"/>
                    <a:pt x="319" y="159"/>
                  </a:cubicBezTo>
                  <a:cubicBezTo>
                    <a:pt x="319" y="228"/>
                    <a:pt x="319" y="228"/>
                    <a:pt x="319" y="228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535"/>
                    <a:pt x="152" y="535"/>
                    <a:pt x="152" y="535"/>
                  </a:cubicBezTo>
                  <a:cubicBezTo>
                    <a:pt x="152" y="600"/>
                    <a:pt x="188" y="623"/>
                    <a:pt x="241" y="623"/>
                  </a:cubicBezTo>
                  <a:cubicBezTo>
                    <a:pt x="267" y="623"/>
                    <a:pt x="290" y="618"/>
                    <a:pt x="317" y="605"/>
                  </a:cubicBezTo>
                  <a:cubicBezTo>
                    <a:pt x="317" y="672"/>
                    <a:pt x="317" y="672"/>
                    <a:pt x="317" y="672"/>
                  </a:cubicBezTo>
                  <a:cubicBezTo>
                    <a:pt x="290" y="686"/>
                    <a:pt x="260" y="694"/>
                    <a:pt x="222" y="694"/>
                  </a:cubicBezTo>
                  <a:cubicBezTo>
                    <a:pt x="138" y="694"/>
                    <a:pt x="74" y="653"/>
                    <a:pt x="74" y="5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Rectangle 26"/>
            <p:cNvSpPr>
              <a:spLocks noChangeArrowheads="1"/>
            </p:cNvSpPr>
            <p:nvPr/>
          </p:nvSpPr>
          <p:spPr bwMode="auto">
            <a:xfrm>
              <a:off x="3952875" y="1989138"/>
              <a:ext cx="13493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140200" y="1797050"/>
              <a:ext cx="152400" cy="358775"/>
            </a:xfrm>
            <a:custGeom>
              <a:avLst/>
              <a:gdLst>
                <a:gd name="T0" fmla="*/ 73 w 318"/>
                <a:gd name="T1" fmla="*/ 291 h 748"/>
                <a:gd name="T2" fmla="*/ 0 w 318"/>
                <a:gd name="T3" fmla="*/ 291 h 748"/>
                <a:gd name="T4" fmla="*/ 0 w 318"/>
                <a:gd name="T5" fmla="*/ 223 h 748"/>
                <a:gd name="T6" fmla="*/ 73 w 318"/>
                <a:gd name="T7" fmla="*/ 223 h 748"/>
                <a:gd name="T8" fmla="*/ 73 w 318"/>
                <a:gd name="T9" fmla="*/ 177 h 748"/>
                <a:gd name="T10" fmla="*/ 119 w 318"/>
                <a:gd name="T11" fmla="*/ 41 h 748"/>
                <a:gd name="T12" fmla="*/ 232 w 318"/>
                <a:gd name="T13" fmla="*/ 0 h 748"/>
                <a:gd name="T14" fmla="*/ 318 w 318"/>
                <a:gd name="T15" fmla="*/ 14 h 748"/>
                <a:gd name="T16" fmla="*/ 318 w 318"/>
                <a:gd name="T17" fmla="*/ 82 h 748"/>
                <a:gd name="T18" fmla="*/ 242 w 318"/>
                <a:gd name="T19" fmla="*/ 69 h 748"/>
                <a:gd name="T20" fmla="*/ 150 w 318"/>
                <a:gd name="T21" fmla="*/ 181 h 748"/>
                <a:gd name="T22" fmla="*/ 150 w 318"/>
                <a:gd name="T23" fmla="*/ 224 h 748"/>
                <a:gd name="T24" fmla="*/ 317 w 318"/>
                <a:gd name="T25" fmla="*/ 224 h 748"/>
                <a:gd name="T26" fmla="*/ 317 w 318"/>
                <a:gd name="T27" fmla="*/ 291 h 748"/>
                <a:gd name="T28" fmla="*/ 151 w 318"/>
                <a:gd name="T29" fmla="*/ 291 h 748"/>
                <a:gd name="T30" fmla="*/ 151 w 318"/>
                <a:gd name="T31" fmla="*/ 748 h 748"/>
                <a:gd name="T32" fmla="*/ 73 w 318"/>
                <a:gd name="T33" fmla="*/ 748 h 748"/>
                <a:gd name="T34" fmla="*/ 73 w 318"/>
                <a:gd name="T35" fmla="*/ 29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8" h="748">
                  <a:moveTo>
                    <a:pt x="73" y="291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73" y="223"/>
                    <a:pt x="73" y="223"/>
                    <a:pt x="73" y="223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3" y="117"/>
                    <a:pt x="89" y="71"/>
                    <a:pt x="119" y="41"/>
                  </a:cubicBezTo>
                  <a:cubicBezTo>
                    <a:pt x="145" y="15"/>
                    <a:pt x="184" y="0"/>
                    <a:pt x="232" y="0"/>
                  </a:cubicBezTo>
                  <a:cubicBezTo>
                    <a:pt x="268" y="0"/>
                    <a:pt x="293" y="5"/>
                    <a:pt x="318" y="14"/>
                  </a:cubicBezTo>
                  <a:cubicBezTo>
                    <a:pt x="318" y="82"/>
                    <a:pt x="318" y="82"/>
                    <a:pt x="318" y="82"/>
                  </a:cubicBezTo>
                  <a:cubicBezTo>
                    <a:pt x="290" y="74"/>
                    <a:pt x="268" y="69"/>
                    <a:pt x="242" y="69"/>
                  </a:cubicBezTo>
                  <a:cubicBezTo>
                    <a:pt x="181" y="69"/>
                    <a:pt x="150" y="105"/>
                    <a:pt x="150" y="181"/>
                  </a:cubicBezTo>
                  <a:cubicBezTo>
                    <a:pt x="150" y="224"/>
                    <a:pt x="150" y="224"/>
                    <a:pt x="150" y="224"/>
                  </a:cubicBezTo>
                  <a:cubicBezTo>
                    <a:pt x="317" y="224"/>
                    <a:pt x="317" y="224"/>
                    <a:pt x="317" y="224"/>
                  </a:cubicBezTo>
                  <a:cubicBezTo>
                    <a:pt x="317" y="291"/>
                    <a:pt x="317" y="291"/>
                    <a:pt x="317" y="291"/>
                  </a:cubicBezTo>
                  <a:cubicBezTo>
                    <a:pt x="151" y="291"/>
                    <a:pt x="151" y="291"/>
                    <a:pt x="151" y="291"/>
                  </a:cubicBezTo>
                  <a:cubicBezTo>
                    <a:pt x="151" y="748"/>
                    <a:pt x="151" y="748"/>
                    <a:pt x="151" y="748"/>
                  </a:cubicBezTo>
                  <a:cubicBezTo>
                    <a:pt x="73" y="748"/>
                    <a:pt x="73" y="748"/>
                    <a:pt x="73" y="748"/>
                  </a:cubicBezTo>
                  <a:lnTo>
                    <a:pt x="73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4313238" y="1898650"/>
              <a:ext cx="417513" cy="261938"/>
            </a:xfrm>
            <a:custGeom>
              <a:avLst/>
              <a:gdLst>
                <a:gd name="T0" fmla="*/ 0 w 874"/>
                <a:gd name="T1" fmla="*/ 385 h 550"/>
                <a:gd name="T2" fmla="*/ 0 w 874"/>
                <a:gd name="T3" fmla="*/ 383 h 550"/>
                <a:gd name="T4" fmla="*/ 221 w 874"/>
                <a:gd name="T5" fmla="*/ 213 h 550"/>
                <a:gd name="T6" fmla="*/ 377 w 874"/>
                <a:gd name="T7" fmla="*/ 236 h 550"/>
                <a:gd name="T8" fmla="*/ 377 w 874"/>
                <a:gd name="T9" fmla="*/ 217 h 550"/>
                <a:gd name="T10" fmla="*/ 225 w 874"/>
                <a:gd name="T11" fmla="*/ 74 h 550"/>
                <a:gd name="T12" fmla="*/ 70 w 874"/>
                <a:gd name="T13" fmla="*/ 112 h 550"/>
                <a:gd name="T14" fmla="*/ 47 w 874"/>
                <a:gd name="T15" fmla="*/ 48 h 550"/>
                <a:gd name="T16" fmla="*/ 233 w 874"/>
                <a:gd name="T17" fmla="*/ 4 h 550"/>
                <a:gd name="T18" fmla="*/ 427 w 874"/>
                <a:gd name="T19" fmla="*/ 117 h 550"/>
                <a:gd name="T20" fmla="*/ 629 w 874"/>
                <a:gd name="T21" fmla="*/ 0 h 550"/>
                <a:gd name="T22" fmla="*/ 874 w 874"/>
                <a:gd name="T23" fmla="*/ 278 h 550"/>
                <a:gd name="T24" fmla="*/ 872 w 874"/>
                <a:gd name="T25" fmla="*/ 304 h 550"/>
                <a:gd name="T26" fmla="*/ 455 w 874"/>
                <a:gd name="T27" fmla="*/ 304 h 550"/>
                <a:gd name="T28" fmla="*/ 640 w 874"/>
                <a:gd name="T29" fmla="*/ 482 h 550"/>
                <a:gd name="T30" fmla="*/ 806 w 874"/>
                <a:gd name="T31" fmla="*/ 408 h 550"/>
                <a:gd name="T32" fmla="*/ 855 w 874"/>
                <a:gd name="T33" fmla="*/ 452 h 550"/>
                <a:gd name="T34" fmla="*/ 638 w 874"/>
                <a:gd name="T35" fmla="*/ 550 h 550"/>
                <a:gd name="T36" fmla="*/ 429 w 874"/>
                <a:gd name="T37" fmla="*/ 444 h 550"/>
                <a:gd name="T38" fmla="*/ 199 w 874"/>
                <a:gd name="T39" fmla="*/ 549 h 550"/>
                <a:gd name="T40" fmla="*/ 0 w 874"/>
                <a:gd name="T41" fmla="*/ 385 h 550"/>
                <a:gd name="T42" fmla="*/ 397 w 874"/>
                <a:gd name="T43" fmla="*/ 392 h 550"/>
                <a:gd name="T44" fmla="*/ 376 w 874"/>
                <a:gd name="T45" fmla="*/ 293 h 550"/>
                <a:gd name="T46" fmla="*/ 229 w 874"/>
                <a:gd name="T47" fmla="*/ 271 h 550"/>
                <a:gd name="T48" fmla="*/ 79 w 874"/>
                <a:gd name="T49" fmla="*/ 380 h 550"/>
                <a:gd name="T50" fmla="*/ 79 w 874"/>
                <a:gd name="T51" fmla="*/ 382 h 550"/>
                <a:gd name="T52" fmla="*/ 208 w 874"/>
                <a:gd name="T53" fmla="*/ 486 h 550"/>
                <a:gd name="T54" fmla="*/ 397 w 874"/>
                <a:gd name="T55" fmla="*/ 392 h 550"/>
                <a:gd name="T56" fmla="*/ 794 w 874"/>
                <a:gd name="T57" fmla="*/ 246 h 550"/>
                <a:gd name="T58" fmla="*/ 627 w 874"/>
                <a:gd name="T59" fmla="*/ 67 h 550"/>
                <a:gd name="T60" fmla="*/ 454 w 874"/>
                <a:gd name="T61" fmla="*/ 246 h 550"/>
                <a:gd name="T62" fmla="*/ 794 w 874"/>
                <a:gd name="T63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74" h="550">
                  <a:moveTo>
                    <a:pt x="0" y="385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272"/>
                    <a:pt x="92" y="213"/>
                    <a:pt x="221" y="213"/>
                  </a:cubicBezTo>
                  <a:cubicBezTo>
                    <a:pt x="285" y="213"/>
                    <a:pt x="330" y="222"/>
                    <a:pt x="377" y="236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7" y="123"/>
                    <a:pt x="322" y="74"/>
                    <a:pt x="225" y="74"/>
                  </a:cubicBezTo>
                  <a:cubicBezTo>
                    <a:pt x="165" y="74"/>
                    <a:pt x="119" y="90"/>
                    <a:pt x="70" y="112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105" y="22"/>
                    <a:pt x="158" y="4"/>
                    <a:pt x="233" y="4"/>
                  </a:cubicBezTo>
                  <a:cubicBezTo>
                    <a:pt x="333" y="4"/>
                    <a:pt x="400" y="42"/>
                    <a:pt x="427" y="117"/>
                  </a:cubicBezTo>
                  <a:cubicBezTo>
                    <a:pt x="469" y="46"/>
                    <a:pt x="542" y="0"/>
                    <a:pt x="629" y="0"/>
                  </a:cubicBezTo>
                  <a:cubicBezTo>
                    <a:pt x="783" y="0"/>
                    <a:pt x="874" y="125"/>
                    <a:pt x="874" y="278"/>
                  </a:cubicBezTo>
                  <a:cubicBezTo>
                    <a:pt x="874" y="289"/>
                    <a:pt x="873" y="295"/>
                    <a:pt x="872" y="304"/>
                  </a:cubicBezTo>
                  <a:cubicBezTo>
                    <a:pt x="455" y="304"/>
                    <a:pt x="455" y="304"/>
                    <a:pt x="455" y="304"/>
                  </a:cubicBezTo>
                  <a:cubicBezTo>
                    <a:pt x="466" y="418"/>
                    <a:pt x="547" y="482"/>
                    <a:pt x="640" y="482"/>
                  </a:cubicBezTo>
                  <a:cubicBezTo>
                    <a:pt x="713" y="482"/>
                    <a:pt x="763" y="453"/>
                    <a:pt x="806" y="408"/>
                  </a:cubicBezTo>
                  <a:cubicBezTo>
                    <a:pt x="855" y="452"/>
                    <a:pt x="855" y="452"/>
                    <a:pt x="855" y="452"/>
                  </a:cubicBezTo>
                  <a:cubicBezTo>
                    <a:pt x="803" y="511"/>
                    <a:pt x="738" y="550"/>
                    <a:pt x="638" y="550"/>
                  </a:cubicBezTo>
                  <a:cubicBezTo>
                    <a:pt x="553" y="550"/>
                    <a:pt x="476" y="511"/>
                    <a:pt x="429" y="444"/>
                  </a:cubicBezTo>
                  <a:cubicBezTo>
                    <a:pt x="373" y="502"/>
                    <a:pt x="296" y="549"/>
                    <a:pt x="199" y="549"/>
                  </a:cubicBezTo>
                  <a:cubicBezTo>
                    <a:pt x="97" y="549"/>
                    <a:pt x="0" y="493"/>
                    <a:pt x="0" y="385"/>
                  </a:cubicBezTo>
                  <a:close/>
                  <a:moveTo>
                    <a:pt x="397" y="392"/>
                  </a:moveTo>
                  <a:cubicBezTo>
                    <a:pt x="385" y="362"/>
                    <a:pt x="378" y="329"/>
                    <a:pt x="376" y="293"/>
                  </a:cubicBezTo>
                  <a:cubicBezTo>
                    <a:pt x="337" y="282"/>
                    <a:pt x="287" y="271"/>
                    <a:pt x="229" y="271"/>
                  </a:cubicBezTo>
                  <a:cubicBezTo>
                    <a:pt x="133" y="271"/>
                    <a:pt x="79" y="314"/>
                    <a:pt x="79" y="380"/>
                  </a:cubicBezTo>
                  <a:cubicBezTo>
                    <a:pt x="79" y="382"/>
                    <a:pt x="79" y="382"/>
                    <a:pt x="79" y="382"/>
                  </a:cubicBezTo>
                  <a:cubicBezTo>
                    <a:pt x="79" y="447"/>
                    <a:pt x="138" y="486"/>
                    <a:pt x="208" y="486"/>
                  </a:cubicBezTo>
                  <a:cubicBezTo>
                    <a:pt x="285" y="486"/>
                    <a:pt x="348" y="447"/>
                    <a:pt x="397" y="392"/>
                  </a:cubicBezTo>
                  <a:close/>
                  <a:moveTo>
                    <a:pt x="794" y="246"/>
                  </a:moveTo>
                  <a:cubicBezTo>
                    <a:pt x="785" y="150"/>
                    <a:pt x="730" y="67"/>
                    <a:pt x="627" y="67"/>
                  </a:cubicBezTo>
                  <a:cubicBezTo>
                    <a:pt x="534" y="67"/>
                    <a:pt x="465" y="143"/>
                    <a:pt x="454" y="246"/>
                  </a:cubicBezTo>
                  <a:lnTo>
                    <a:pt x="794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4800600" y="1800225"/>
              <a:ext cx="36513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6" name="Rectangle 30"/>
            <p:cNvSpPr>
              <a:spLocks noChangeArrowheads="1"/>
            </p:cNvSpPr>
            <p:nvPr/>
          </p:nvSpPr>
          <p:spPr bwMode="auto">
            <a:xfrm>
              <a:off x="4927600" y="1800225"/>
              <a:ext cx="38100" cy="355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auto">
            <a:xfrm>
              <a:off x="5037138" y="1898650"/>
              <a:ext cx="238125" cy="261938"/>
            </a:xfrm>
            <a:custGeom>
              <a:avLst/>
              <a:gdLst>
                <a:gd name="T0" fmla="*/ 0 w 498"/>
                <a:gd name="T1" fmla="*/ 276 h 550"/>
                <a:gd name="T2" fmla="*/ 0 w 498"/>
                <a:gd name="T3" fmla="*/ 274 h 550"/>
                <a:gd name="T4" fmla="*/ 252 w 498"/>
                <a:gd name="T5" fmla="*/ 0 h 550"/>
                <a:gd name="T6" fmla="*/ 498 w 498"/>
                <a:gd name="T7" fmla="*/ 278 h 550"/>
                <a:gd name="T8" fmla="*/ 497 w 498"/>
                <a:gd name="T9" fmla="*/ 304 h 550"/>
                <a:gd name="T10" fmla="*/ 79 w 498"/>
                <a:gd name="T11" fmla="*/ 304 h 550"/>
                <a:gd name="T12" fmla="*/ 264 w 498"/>
                <a:gd name="T13" fmla="*/ 482 h 550"/>
                <a:gd name="T14" fmla="*/ 430 w 498"/>
                <a:gd name="T15" fmla="*/ 408 h 550"/>
                <a:gd name="T16" fmla="*/ 479 w 498"/>
                <a:gd name="T17" fmla="*/ 452 h 550"/>
                <a:gd name="T18" fmla="*/ 262 w 498"/>
                <a:gd name="T19" fmla="*/ 550 h 550"/>
                <a:gd name="T20" fmla="*/ 0 w 498"/>
                <a:gd name="T21" fmla="*/ 276 h 550"/>
                <a:gd name="T22" fmla="*/ 418 w 498"/>
                <a:gd name="T23" fmla="*/ 246 h 550"/>
                <a:gd name="T24" fmla="*/ 250 w 498"/>
                <a:gd name="T25" fmla="*/ 67 h 550"/>
                <a:gd name="T26" fmla="*/ 79 w 498"/>
                <a:gd name="T27" fmla="*/ 246 h 550"/>
                <a:gd name="T28" fmla="*/ 418 w 498"/>
                <a:gd name="T29" fmla="*/ 2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" h="550">
                  <a:moveTo>
                    <a:pt x="0" y="276"/>
                  </a:moveTo>
                  <a:cubicBezTo>
                    <a:pt x="0" y="274"/>
                    <a:pt x="0" y="274"/>
                    <a:pt x="0" y="274"/>
                  </a:cubicBezTo>
                  <a:cubicBezTo>
                    <a:pt x="0" y="123"/>
                    <a:pt x="107" y="0"/>
                    <a:pt x="252" y="0"/>
                  </a:cubicBezTo>
                  <a:cubicBezTo>
                    <a:pt x="408" y="0"/>
                    <a:pt x="498" y="125"/>
                    <a:pt x="498" y="278"/>
                  </a:cubicBezTo>
                  <a:cubicBezTo>
                    <a:pt x="498" y="289"/>
                    <a:pt x="498" y="295"/>
                    <a:pt x="497" y="304"/>
                  </a:cubicBezTo>
                  <a:cubicBezTo>
                    <a:pt x="79" y="304"/>
                    <a:pt x="79" y="304"/>
                    <a:pt x="79" y="304"/>
                  </a:cubicBezTo>
                  <a:cubicBezTo>
                    <a:pt x="90" y="418"/>
                    <a:pt x="171" y="482"/>
                    <a:pt x="264" y="482"/>
                  </a:cubicBezTo>
                  <a:cubicBezTo>
                    <a:pt x="337" y="482"/>
                    <a:pt x="388" y="453"/>
                    <a:pt x="430" y="408"/>
                  </a:cubicBezTo>
                  <a:cubicBezTo>
                    <a:pt x="479" y="452"/>
                    <a:pt x="479" y="452"/>
                    <a:pt x="479" y="452"/>
                  </a:cubicBezTo>
                  <a:cubicBezTo>
                    <a:pt x="426" y="511"/>
                    <a:pt x="362" y="550"/>
                    <a:pt x="262" y="550"/>
                  </a:cubicBezTo>
                  <a:cubicBezTo>
                    <a:pt x="118" y="550"/>
                    <a:pt x="0" y="439"/>
                    <a:pt x="0" y="276"/>
                  </a:cubicBezTo>
                  <a:close/>
                  <a:moveTo>
                    <a:pt x="418" y="246"/>
                  </a:moveTo>
                  <a:cubicBezTo>
                    <a:pt x="410" y="150"/>
                    <a:pt x="355" y="67"/>
                    <a:pt x="250" y="67"/>
                  </a:cubicBezTo>
                  <a:cubicBezTo>
                    <a:pt x="158" y="67"/>
                    <a:pt x="89" y="143"/>
                    <a:pt x="79" y="246"/>
                  </a:cubicBezTo>
                  <a:lnTo>
                    <a:pt x="418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5319713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2 w 406"/>
                <a:gd name="T5" fmla="*/ 480 h 546"/>
                <a:gd name="T6" fmla="*/ 331 w 406"/>
                <a:gd name="T7" fmla="*/ 397 h 546"/>
                <a:gd name="T8" fmla="*/ 331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2" y="480"/>
                  </a:cubicBezTo>
                  <a:cubicBezTo>
                    <a:pt x="286" y="480"/>
                    <a:pt x="331" y="448"/>
                    <a:pt x="331" y="397"/>
                  </a:cubicBezTo>
                  <a:cubicBezTo>
                    <a:pt x="331" y="395"/>
                    <a:pt x="331" y="395"/>
                    <a:pt x="331" y="395"/>
                  </a:cubicBezTo>
                  <a:cubicBezTo>
                    <a:pt x="331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59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auto">
            <a:xfrm>
              <a:off x="5557838" y="1898650"/>
              <a:ext cx="193675" cy="261938"/>
            </a:xfrm>
            <a:custGeom>
              <a:avLst/>
              <a:gdLst>
                <a:gd name="T0" fmla="*/ 0 w 406"/>
                <a:gd name="T1" fmla="*/ 469 h 546"/>
                <a:gd name="T2" fmla="*/ 40 w 406"/>
                <a:gd name="T3" fmla="*/ 413 h 546"/>
                <a:gd name="T4" fmla="*/ 223 w 406"/>
                <a:gd name="T5" fmla="*/ 480 h 546"/>
                <a:gd name="T6" fmla="*/ 332 w 406"/>
                <a:gd name="T7" fmla="*/ 397 h 546"/>
                <a:gd name="T8" fmla="*/ 332 w 406"/>
                <a:gd name="T9" fmla="*/ 395 h 546"/>
                <a:gd name="T10" fmla="*/ 200 w 406"/>
                <a:gd name="T11" fmla="*/ 302 h 546"/>
                <a:gd name="T12" fmla="*/ 26 w 406"/>
                <a:gd name="T13" fmla="*/ 153 h 546"/>
                <a:gd name="T14" fmla="*/ 26 w 406"/>
                <a:gd name="T15" fmla="*/ 151 h 546"/>
                <a:gd name="T16" fmla="*/ 205 w 406"/>
                <a:gd name="T17" fmla="*/ 0 h 546"/>
                <a:gd name="T18" fmla="*/ 395 w 406"/>
                <a:gd name="T19" fmla="*/ 58 h 546"/>
                <a:gd name="T20" fmla="*/ 359 w 406"/>
                <a:gd name="T21" fmla="*/ 117 h 546"/>
                <a:gd name="T22" fmla="*/ 203 w 406"/>
                <a:gd name="T23" fmla="*/ 67 h 546"/>
                <a:gd name="T24" fmla="*/ 101 w 406"/>
                <a:gd name="T25" fmla="*/ 143 h 546"/>
                <a:gd name="T26" fmla="*/ 101 w 406"/>
                <a:gd name="T27" fmla="*/ 145 h 546"/>
                <a:gd name="T28" fmla="*/ 237 w 406"/>
                <a:gd name="T29" fmla="*/ 236 h 546"/>
                <a:gd name="T30" fmla="*/ 406 w 406"/>
                <a:gd name="T31" fmla="*/ 386 h 546"/>
                <a:gd name="T32" fmla="*/ 406 w 406"/>
                <a:gd name="T33" fmla="*/ 388 h 546"/>
                <a:gd name="T34" fmla="*/ 218 w 406"/>
                <a:gd name="T35" fmla="*/ 546 h 546"/>
                <a:gd name="T36" fmla="*/ 0 w 406"/>
                <a:gd name="T37" fmla="*/ 469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6" h="546">
                  <a:moveTo>
                    <a:pt x="0" y="469"/>
                  </a:moveTo>
                  <a:cubicBezTo>
                    <a:pt x="40" y="413"/>
                    <a:pt x="40" y="413"/>
                    <a:pt x="40" y="413"/>
                  </a:cubicBezTo>
                  <a:cubicBezTo>
                    <a:pt x="97" y="456"/>
                    <a:pt x="160" y="480"/>
                    <a:pt x="223" y="480"/>
                  </a:cubicBezTo>
                  <a:cubicBezTo>
                    <a:pt x="286" y="480"/>
                    <a:pt x="332" y="448"/>
                    <a:pt x="332" y="397"/>
                  </a:cubicBezTo>
                  <a:cubicBezTo>
                    <a:pt x="332" y="395"/>
                    <a:pt x="332" y="395"/>
                    <a:pt x="332" y="395"/>
                  </a:cubicBezTo>
                  <a:cubicBezTo>
                    <a:pt x="332" y="342"/>
                    <a:pt x="269" y="321"/>
                    <a:pt x="200" y="302"/>
                  </a:cubicBezTo>
                  <a:cubicBezTo>
                    <a:pt x="118" y="278"/>
                    <a:pt x="26" y="250"/>
                    <a:pt x="26" y="153"/>
                  </a:cubicBezTo>
                  <a:cubicBezTo>
                    <a:pt x="26" y="151"/>
                    <a:pt x="26" y="151"/>
                    <a:pt x="26" y="151"/>
                  </a:cubicBezTo>
                  <a:cubicBezTo>
                    <a:pt x="26" y="60"/>
                    <a:pt x="101" y="0"/>
                    <a:pt x="205" y="0"/>
                  </a:cubicBezTo>
                  <a:cubicBezTo>
                    <a:pt x="269" y="0"/>
                    <a:pt x="341" y="23"/>
                    <a:pt x="395" y="58"/>
                  </a:cubicBezTo>
                  <a:cubicBezTo>
                    <a:pt x="359" y="117"/>
                    <a:pt x="359" y="117"/>
                    <a:pt x="359" y="117"/>
                  </a:cubicBezTo>
                  <a:cubicBezTo>
                    <a:pt x="310" y="86"/>
                    <a:pt x="254" y="67"/>
                    <a:pt x="203" y="67"/>
                  </a:cubicBezTo>
                  <a:cubicBezTo>
                    <a:pt x="141" y="67"/>
                    <a:pt x="101" y="99"/>
                    <a:pt x="101" y="143"/>
                  </a:cubicBezTo>
                  <a:cubicBezTo>
                    <a:pt x="101" y="145"/>
                    <a:pt x="101" y="145"/>
                    <a:pt x="101" y="145"/>
                  </a:cubicBezTo>
                  <a:cubicBezTo>
                    <a:pt x="101" y="195"/>
                    <a:pt x="166" y="214"/>
                    <a:pt x="237" y="236"/>
                  </a:cubicBezTo>
                  <a:cubicBezTo>
                    <a:pt x="318" y="260"/>
                    <a:pt x="406" y="292"/>
                    <a:pt x="406" y="386"/>
                  </a:cubicBezTo>
                  <a:cubicBezTo>
                    <a:pt x="406" y="388"/>
                    <a:pt x="406" y="388"/>
                    <a:pt x="406" y="388"/>
                  </a:cubicBezTo>
                  <a:cubicBezTo>
                    <a:pt x="406" y="488"/>
                    <a:pt x="323" y="546"/>
                    <a:pt x="218" y="546"/>
                  </a:cubicBezTo>
                  <a:cubicBezTo>
                    <a:pt x="143" y="546"/>
                    <a:pt x="60" y="517"/>
                    <a:pt x="0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5821363" y="1800225"/>
              <a:ext cx="223838" cy="355600"/>
            </a:xfrm>
            <a:custGeom>
              <a:avLst/>
              <a:gdLst>
                <a:gd name="T0" fmla="*/ 0 w 141"/>
                <a:gd name="T1" fmla="*/ 0 h 224"/>
                <a:gd name="T2" fmla="*/ 23 w 141"/>
                <a:gd name="T3" fmla="*/ 0 h 224"/>
                <a:gd name="T4" fmla="*/ 23 w 141"/>
                <a:gd name="T5" fmla="*/ 154 h 224"/>
                <a:gd name="T6" fmla="*/ 109 w 141"/>
                <a:gd name="T7" fmla="*/ 65 h 224"/>
                <a:gd name="T8" fmla="*/ 138 w 141"/>
                <a:gd name="T9" fmla="*/ 65 h 224"/>
                <a:gd name="T10" fmla="*/ 72 w 141"/>
                <a:gd name="T11" fmla="*/ 133 h 224"/>
                <a:gd name="T12" fmla="*/ 141 w 141"/>
                <a:gd name="T13" fmla="*/ 224 h 224"/>
                <a:gd name="T14" fmla="*/ 112 w 141"/>
                <a:gd name="T15" fmla="*/ 224 h 224"/>
                <a:gd name="T16" fmla="*/ 56 w 141"/>
                <a:gd name="T17" fmla="*/ 150 h 224"/>
                <a:gd name="T18" fmla="*/ 23 w 141"/>
                <a:gd name="T19" fmla="*/ 182 h 224"/>
                <a:gd name="T20" fmla="*/ 23 w 141"/>
                <a:gd name="T21" fmla="*/ 224 h 224"/>
                <a:gd name="T22" fmla="*/ 0 w 141"/>
                <a:gd name="T23" fmla="*/ 224 h 224"/>
                <a:gd name="T24" fmla="*/ 0 w 141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224">
                  <a:moveTo>
                    <a:pt x="0" y="0"/>
                  </a:moveTo>
                  <a:lnTo>
                    <a:pt x="23" y="0"/>
                  </a:lnTo>
                  <a:lnTo>
                    <a:pt x="23" y="154"/>
                  </a:lnTo>
                  <a:lnTo>
                    <a:pt x="109" y="65"/>
                  </a:lnTo>
                  <a:lnTo>
                    <a:pt x="138" y="65"/>
                  </a:lnTo>
                  <a:lnTo>
                    <a:pt x="72" y="133"/>
                  </a:lnTo>
                  <a:lnTo>
                    <a:pt x="141" y="224"/>
                  </a:lnTo>
                  <a:lnTo>
                    <a:pt x="112" y="224"/>
                  </a:lnTo>
                  <a:lnTo>
                    <a:pt x="56" y="150"/>
                  </a:lnTo>
                  <a:lnTo>
                    <a:pt x="23" y="182"/>
                  </a:lnTo>
                  <a:lnTo>
                    <a:pt x="23" y="224"/>
                  </a:lnTo>
                  <a:lnTo>
                    <a:pt x="0" y="22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6073775" y="1900238"/>
              <a:ext cx="222250" cy="260350"/>
            </a:xfrm>
            <a:custGeom>
              <a:avLst/>
              <a:gdLst>
                <a:gd name="T0" fmla="*/ 0 w 463"/>
                <a:gd name="T1" fmla="*/ 381 h 545"/>
                <a:gd name="T2" fmla="*/ 0 w 463"/>
                <a:gd name="T3" fmla="*/ 379 h 545"/>
                <a:gd name="T4" fmla="*/ 225 w 463"/>
                <a:gd name="T5" fmla="*/ 209 h 545"/>
                <a:gd name="T6" fmla="*/ 387 w 463"/>
                <a:gd name="T7" fmla="*/ 232 h 545"/>
                <a:gd name="T8" fmla="*/ 387 w 463"/>
                <a:gd name="T9" fmla="*/ 213 h 545"/>
                <a:gd name="T10" fmla="*/ 230 w 463"/>
                <a:gd name="T11" fmla="*/ 70 h 545"/>
                <a:gd name="T12" fmla="*/ 70 w 463"/>
                <a:gd name="T13" fmla="*/ 108 h 545"/>
                <a:gd name="T14" fmla="*/ 47 w 463"/>
                <a:gd name="T15" fmla="*/ 44 h 545"/>
                <a:gd name="T16" fmla="*/ 239 w 463"/>
                <a:gd name="T17" fmla="*/ 0 h 545"/>
                <a:gd name="T18" fmla="*/ 409 w 463"/>
                <a:gd name="T19" fmla="*/ 58 h 545"/>
                <a:gd name="T20" fmla="*/ 463 w 463"/>
                <a:gd name="T21" fmla="*/ 212 h 545"/>
                <a:gd name="T22" fmla="*/ 463 w 463"/>
                <a:gd name="T23" fmla="*/ 534 h 545"/>
                <a:gd name="T24" fmla="*/ 387 w 463"/>
                <a:gd name="T25" fmla="*/ 534 h 545"/>
                <a:gd name="T26" fmla="*/ 387 w 463"/>
                <a:gd name="T27" fmla="*/ 455 h 545"/>
                <a:gd name="T28" fmla="*/ 197 w 463"/>
                <a:gd name="T29" fmla="*/ 545 h 545"/>
                <a:gd name="T30" fmla="*/ 0 w 463"/>
                <a:gd name="T31" fmla="*/ 381 h 545"/>
                <a:gd name="T32" fmla="*/ 388 w 463"/>
                <a:gd name="T33" fmla="*/ 341 h 545"/>
                <a:gd name="T34" fmla="*/ 388 w 463"/>
                <a:gd name="T35" fmla="*/ 290 h 545"/>
                <a:gd name="T36" fmla="*/ 233 w 463"/>
                <a:gd name="T37" fmla="*/ 267 h 545"/>
                <a:gd name="T38" fmla="*/ 80 w 463"/>
                <a:gd name="T39" fmla="*/ 376 h 545"/>
                <a:gd name="T40" fmla="*/ 80 w 463"/>
                <a:gd name="T41" fmla="*/ 378 h 545"/>
                <a:gd name="T42" fmla="*/ 212 w 463"/>
                <a:gd name="T43" fmla="*/ 483 h 545"/>
                <a:gd name="T44" fmla="*/ 388 w 463"/>
                <a:gd name="T45" fmla="*/ 341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3" h="545">
                  <a:moveTo>
                    <a:pt x="0" y="381"/>
                  </a:moveTo>
                  <a:cubicBezTo>
                    <a:pt x="0" y="379"/>
                    <a:pt x="0" y="379"/>
                    <a:pt x="0" y="379"/>
                  </a:cubicBezTo>
                  <a:cubicBezTo>
                    <a:pt x="0" y="268"/>
                    <a:pt x="92" y="209"/>
                    <a:pt x="225" y="209"/>
                  </a:cubicBezTo>
                  <a:cubicBezTo>
                    <a:pt x="292" y="209"/>
                    <a:pt x="340" y="218"/>
                    <a:pt x="387" y="232"/>
                  </a:cubicBezTo>
                  <a:cubicBezTo>
                    <a:pt x="387" y="213"/>
                    <a:pt x="387" y="213"/>
                    <a:pt x="387" y="213"/>
                  </a:cubicBezTo>
                  <a:cubicBezTo>
                    <a:pt x="387" y="119"/>
                    <a:pt x="329" y="70"/>
                    <a:pt x="230" y="70"/>
                  </a:cubicBezTo>
                  <a:cubicBezTo>
                    <a:pt x="168" y="70"/>
                    <a:pt x="119" y="86"/>
                    <a:pt x="70" y="108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5" y="18"/>
                    <a:pt x="162" y="0"/>
                    <a:pt x="239" y="0"/>
                  </a:cubicBezTo>
                  <a:cubicBezTo>
                    <a:pt x="313" y="0"/>
                    <a:pt x="370" y="20"/>
                    <a:pt x="409" y="58"/>
                  </a:cubicBezTo>
                  <a:cubicBezTo>
                    <a:pt x="444" y="94"/>
                    <a:pt x="463" y="145"/>
                    <a:pt x="463" y="212"/>
                  </a:cubicBezTo>
                  <a:cubicBezTo>
                    <a:pt x="463" y="534"/>
                    <a:pt x="463" y="534"/>
                    <a:pt x="463" y="534"/>
                  </a:cubicBezTo>
                  <a:cubicBezTo>
                    <a:pt x="387" y="534"/>
                    <a:pt x="387" y="534"/>
                    <a:pt x="387" y="534"/>
                  </a:cubicBezTo>
                  <a:cubicBezTo>
                    <a:pt x="387" y="455"/>
                    <a:pt x="387" y="455"/>
                    <a:pt x="387" y="455"/>
                  </a:cubicBezTo>
                  <a:cubicBezTo>
                    <a:pt x="351" y="503"/>
                    <a:pt x="289" y="545"/>
                    <a:pt x="197" y="545"/>
                  </a:cubicBezTo>
                  <a:cubicBezTo>
                    <a:pt x="99" y="545"/>
                    <a:pt x="0" y="489"/>
                    <a:pt x="0" y="381"/>
                  </a:cubicBezTo>
                  <a:close/>
                  <a:moveTo>
                    <a:pt x="388" y="341"/>
                  </a:moveTo>
                  <a:cubicBezTo>
                    <a:pt x="388" y="290"/>
                    <a:pt x="388" y="290"/>
                    <a:pt x="388" y="290"/>
                  </a:cubicBezTo>
                  <a:cubicBezTo>
                    <a:pt x="350" y="278"/>
                    <a:pt x="298" y="267"/>
                    <a:pt x="233" y="267"/>
                  </a:cubicBezTo>
                  <a:cubicBezTo>
                    <a:pt x="135" y="267"/>
                    <a:pt x="80" y="310"/>
                    <a:pt x="80" y="376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445"/>
                    <a:pt x="141" y="483"/>
                    <a:pt x="212" y="483"/>
                  </a:cubicBezTo>
                  <a:cubicBezTo>
                    <a:pt x="309" y="483"/>
                    <a:pt x="388" y="424"/>
                    <a:pt x="388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6"/>
            <p:cNvSpPr>
              <a:spLocks noEditPoints="1"/>
            </p:cNvSpPr>
            <p:nvPr/>
          </p:nvSpPr>
          <p:spPr bwMode="auto">
            <a:xfrm>
              <a:off x="6375400" y="1800225"/>
              <a:ext cx="254000" cy="360363"/>
            </a:xfrm>
            <a:custGeom>
              <a:avLst/>
              <a:gdLst>
                <a:gd name="T0" fmla="*/ 78 w 531"/>
                <a:gd name="T1" fmla="*/ 642 h 754"/>
                <a:gd name="T2" fmla="*/ 78 w 531"/>
                <a:gd name="T3" fmla="*/ 743 h 754"/>
                <a:gd name="T4" fmla="*/ 0 w 531"/>
                <a:gd name="T5" fmla="*/ 743 h 754"/>
                <a:gd name="T6" fmla="*/ 0 w 531"/>
                <a:gd name="T7" fmla="*/ 0 h 754"/>
                <a:gd name="T8" fmla="*/ 78 w 531"/>
                <a:gd name="T9" fmla="*/ 0 h 754"/>
                <a:gd name="T10" fmla="*/ 78 w 531"/>
                <a:gd name="T11" fmla="*/ 322 h 754"/>
                <a:gd name="T12" fmla="*/ 280 w 531"/>
                <a:gd name="T13" fmla="*/ 205 h 754"/>
                <a:gd name="T14" fmla="*/ 531 w 531"/>
                <a:gd name="T15" fmla="*/ 478 h 754"/>
                <a:gd name="T16" fmla="*/ 531 w 531"/>
                <a:gd name="T17" fmla="*/ 480 h 754"/>
                <a:gd name="T18" fmla="*/ 280 w 531"/>
                <a:gd name="T19" fmla="*/ 754 h 754"/>
                <a:gd name="T20" fmla="*/ 78 w 531"/>
                <a:gd name="T21" fmla="*/ 642 h 754"/>
                <a:gd name="T22" fmla="*/ 451 w 531"/>
                <a:gd name="T23" fmla="*/ 481 h 754"/>
                <a:gd name="T24" fmla="*/ 451 w 531"/>
                <a:gd name="T25" fmla="*/ 479 h 754"/>
                <a:gd name="T26" fmla="*/ 265 w 531"/>
                <a:gd name="T27" fmla="*/ 276 h 754"/>
                <a:gd name="T28" fmla="*/ 75 w 531"/>
                <a:gd name="T29" fmla="*/ 478 h 754"/>
                <a:gd name="T30" fmla="*/ 75 w 531"/>
                <a:gd name="T31" fmla="*/ 480 h 754"/>
                <a:gd name="T32" fmla="*/ 265 w 531"/>
                <a:gd name="T33" fmla="*/ 684 h 754"/>
                <a:gd name="T34" fmla="*/ 451 w 531"/>
                <a:gd name="T35" fmla="*/ 481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1" h="754">
                  <a:moveTo>
                    <a:pt x="78" y="642"/>
                  </a:moveTo>
                  <a:cubicBezTo>
                    <a:pt x="78" y="743"/>
                    <a:pt x="78" y="743"/>
                    <a:pt x="78" y="743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121" y="259"/>
                    <a:pt x="183" y="205"/>
                    <a:pt x="280" y="205"/>
                  </a:cubicBezTo>
                  <a:cubicBezTo>
                    <a:pt x="406" y="205"/>
                    <a:pt x="531" y="305"/>
                    <a:pt x="531" y="478"/>
                  </a:cubicBezTo>
                  <a:cubicBezTo>
                    <a:pt x="531" y="480"/>
                    <a:pt x="531" y="480"/>
                    <a:pt x="531" y="480"/>
                  </a:cubicBezTo>
                  <a:cubicBezTo>
                    <a:pt x="531" y="652"/>
                    <a:pt x="407" y="754"/>
                    <a:pt x="280" y="754"/>
                  </a:cubicBezTo>
                  <a:cubicBezTo>
                    <a:pt x="182" y="754"/>
                    <a:pt x="119" y="701"/>
                    <a:pt x="78" y="642"/>
                  </a:cubicBezTo>
                  <a:close/>
                  <a:moveTo>
                    <a:pt x="451" y="481"/>
                  </a:moveTo>
                  <a:cubicBezTo>
                    <a:pt x="451" y="479"/>
                    <a:pt x="451" y="479"/>
                    <a:pt x="451" y="479"/>
                  </a:cubicBezTo>
                  <a:cubicBezTo>
                    <a:pt x="451" y="355"/>
                    <a:pt x="365" y="276"/>
                    <a:pt x="265" y="276"/>
                  </a:cubicBezTo>
                  <a:cubicBezTo>
                    <a:pt x="168" y="276"/>
                    <a:pt x="75" y="358"/>
                    <a:pt x="75" y="478"/>
                  </a:cubicBezTo>
                  <a:cubicBezTo>
                    <a:pt x="75" y="480"/>
                    <a:pt x="75" y="480"/>
                    <a:pt x="75" y="480"/>
                  </a:cubicBezTo>
                  <a:cubicBezTo>
                    <a:pt x="75" y="603"/>
                    <a:pt x="168" y="684"/>
                    <a:pt x="265" y="684"/>
                  </a:cubicBezTo>
                  <a:cubicBezTo>
                    <a:pt x="367" y="684"/>
                    <a:pt x="451" y="609"/>
                    <a:pt x="451" y="4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4192273689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OMBIT Pause, Grå">
    <p:bg>
      <p:bgPr>
        <a:solidFill>
          <a:srgbClr val="CBC4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680" y="1556793"/>
            <a:ext cx="5472608" cy="3384376"/>
          </a:xfrm>
        </p:spPr>
        <p:txBody>
          <a:bodyPr anchor="ctr"/>
          <a:lstStyle>
            <a:lvl1pPr algn="l">
              <a:lnSpc>
                <a:spcPts val="4500"/>
              </a:lnSpc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1691680" y="6723137"/>
            <a:ext cx="5400600" cy="450279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 smtClean="0"/>
              <a:t>(Brødtekst benyttes ikke på dette dias)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18. februar 2014            Praksys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2528424276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862519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5337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3" imgW="359" imgH="358" progId="TCLayout.ActiveDocument.1">
                  <p:embed/>
                </p:oleObj>
              </mc:Choice>
              <mc:Fallback>
                <p:oleObj name="think-cell Slide" r:id="rId2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  <a:p>
            <a:pPr lvl="5"/>
            <a:r>
              <a:rPr lang="da-DK" dirty="0" smtClean="0"/>
              <a:t>Sjette niveau</a:t>
            </a:r>
          </a:p>
          <a:p>
            <a:pPr lvl="6"/>
            <a:r>
              <a:rPr lang="da-DK" dirty="0" smtClean="0"/>
              <a:t>(syvende)</a:t>
            </a:r>
          </a:p>
          <a:p>
            <a:pPr lvl="7"/>
            <a:r>
              <a:rPr lang="da-DK" dirty="0" smtClean="0"/>
              <a:t>(ottende)</a:t>
            </a:r>
          </a:p>
          <a:p>
            <a:pPr lvl="8"/>
            <a:r>
              <a:rPr lang="da-DK" dirty="0" smtClean="0"/>
              <a:t>(niende)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endParaRPr lang="da-DK" noProof="0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E51DFFA5-2275-4D40-8C57-30E4DF90161C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438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63" r:id="rId19"/>
  </p:sldLayoutIdLst>
  <p:hf sldNum="0" hdr="0" ftr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23" imgW="359" imgH="358" progId="TCLayout.ActiveDocument.1">
                  <p:embed/>
                </p:oleObj>
              </mc:Choice>
              <mc:Fallback>
                <p:oleObj name="think-cell Slide" r:id="rId2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67999" y="1584001"/>
            <a:ext cx="8171999" cy="410630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  <a:p>
            <a:pPr lvl="5"/>
            <a:r>
              <a:rPr lang="da-DK" dirty="0" smtClean="0"/>
              <a:t>Sjette niveau</a:t>
            </a:r>
          </a:p>
          <a:p>
            <a:pPr lvl="6"/>
            <a:r>
              <a:rPr lang="da-DK" dirty="0" smtClean="0"/>
              <a:t>(syvende)</a:t>
            </a:r>
          </a:p>
          <a:p>
            <a:pPr lvl="7"/>
            <a:r>
              <a:rPr lang="da-DK" dirty="0" smtClean="0"/>
              <a:t>(ottende)</a:t>
            </a:r>
          </a:p>
          <a:p>
            <a:pPr lvl="8"/>
            <a:r>
              <a:rPr lang="da-DK" dirty="0" smtClean="0"/>
              <a:t>(niende)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28000" y="6215560"/>
            <a:ext cx="64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da-DK" dirty="0" smtClean="0">
                <a:solidFill>
                  <a:prstClr val="black"/>
                </a:solidFill>
              </a:rPr>
              <a:t>Praksys.dk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693066" y="6214350"/>
            <a:ext cx="442693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9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69191" y="6215923"/>
            <a:ext cx="358393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ts val="1300"/>
              </a:lnSpc>
              <a:defRPr sz="1000" b="1">
                <a:solidFill>
                  <a:schemeClr val="tx1"/>
                </a:solidFill>
                <a:latin typeface="Trebuchet MS" panose="020B0603020202020204" pitchFamily="34" charset="0"/>
              </a:defRPr>
            </a:lvl1pPr>
          </a:lstStyle>
          <a:p>
            <a:fld id="{E51DFFA5-2275-4D40-8C57-30E4DF90161C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g\Desktop\KOMBIT\_Version 0.1\KOMBIT_payoff_cmyk.emf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9362" y="6065427"/>
            <a:ext cx="1510637" cy="472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587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</p:sldLayoutIdLst>
  <p:hf sldNum="0" hdr="0" ftr="0"/>
  <p:txStyles>
    <p:titleStyle>
      <a:lvl1pPr algn="l" defTabSz="914400" rtl="0" eaLnBrk="1" latinLnBrk="0" hangingPunct="1">
        <a:lnSpc>
          <a:spcPts val="2700"/>
        </a:lnSpc>
        <a:spcBef>
          <a:spcPct val="0"/>
        </a:spcBef>
        <a:buNone/>
        <a:defRPr sz="3000" b="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ts val="2600"/>
        </a:lnSpc>
        <a:spcBef>
          <a:spcPts val="0"/>
        </a:spcBef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Trebuchet MS" panose="020B0603020202020204" pitchFamily="34" charset="0"/>
          <a:ea typeface="+mn-ea"/>
          <a:cs typeface="+mn-cs"/>
        </a:defRPr>
      </a:lvl2pPr>
      <a:lvl3pPr marL="180000" indent="-180000" algn="l" defTabSz="360000" rtl="0" eaLnBrk="1" latinLnBrk="0" hangingPunct="1"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538163" indent="-180975" algn="l" defTabSz="914400" rtl="0" eaLnBrk="1" latinLnBrk="0" hangingPunct="1">
        <a:lnSpc>
          <a:spcPts val="24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1188000" indent="-180000" algn="l" defTabSz="914400" rtl="0" eaLnBrk="1" latinLnBrk="0" hangingPunct="1">
        <a:lnSpc>
          <a:spcPts val="2200"/>
        </a:lnSpc>
        <a:spcBef>
          <a:spcPts val="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524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88436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2463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4.xml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5.xml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6.xml"/><Relationship Id="rId4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7.xml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4" Type="http://schemas.openxmlformats.org/officeDocument/2006/relationships/notesSlide" Target="../notesSlides/notesSlide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notesSlide" Target="../notesSlides/notesSlide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Praksys.dk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67544" y="4221088"/>
            <a:ext cx="6696744" cy="633208"/>
          </a:xfrm>
        </p:spPr>
        <p:txBody>
          <a:bodyPr>
            <a:normAutofit fontScale="25000" lnSpcReduction="20000"/>
          </a:bodyPr>
          <a:lstStyle/>
          <a:p>
            <a:r>
              <a:rPr lang="da-DK" sz="9600" dirty="0" smtClean="0"/>
              <a:t>Præsentation – Implementeringsansvarlige</a:t>
            </a:r>
          </a:p>
          <a:p>
            <a:r>
              <a:rPr lang="da-DK" sz="9600" dirty="0" smtClean="0"/>
              <a:t>Forår 20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564304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idsplan og stat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999" y="3647707"/>
            <a:ext cx="8171999" cy="2042597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da-DK" sz="1600" dirty="0"/>
              <a:t>Afklaringsfasen er afsluttet med tilfredsstillende resulta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a-DK" sz="1600" dirty="0"/>
              <a:t>Konstruktionen af kommunal funktionalitet starter august 2015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a-DK" sz="1600" dirty="0"/>
              <a:t>Implementeringsforberedelserne er så langt, at kommunerne skal inddrages i beslutninge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a-DK" sz="1600" dirty="0"/>
              <a:t>Business casen holder stadig med visse forbehold</a:t>
            </a:r>
          </a:p>
          <a:p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TextBox 4"/>
          <p:cNvSpPr txBox="1"/>
          <p:nvPr/>
        </p:nvSpPr>
        <p:spPr>
          <a:xfrm>
            <a:off x="4039655" y="2398434"/>
            <a:ext cx="15252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Delleverance-</a:t>
            </a:r>
          </a:p>
          <a:p>
            <a:r>
              <a:rPr lang="da-DK" sz="1100" dirty="0" smtClean="0"/>
              <a:t>prøve 1 Godkendt</a:t>
            </a:r>
          </a:p>
          <a:p>
            <a:r>
              <a:rPr lang="da-DK" sz="1100" dirty="0" smtClean="0"/>
              <a:t>21. december 2015</a:t>
            </a:r>
          </a:p>
        </p:txBody>
      </p:sp>
      <p:sp>
        <p:nvSpPr>
          <p:cNvPr id="6" name="Rectangle 5"/>
          <p:cNvSpPr/>
          <p:nvPr/>
        </p:nvSpPr>
        <p:spPr>
          <a:xfrm>
            <a:off x="2210291" y="1293737"/>
            <a:ext cx="45719" cy="110217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Rectangle 6"/>
          <p:cNvSpPr/>
          <p:nvPr/>
        </p:nvSpPr>
        <p:spPr>
          <a:xfrm>
            <a:off x="6830537" y="1269638"/>
            <a:ext cx="45719" cy="177029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ctangle 7"/>
          <p:cNvSpPr/>
          <p:nvPr/>
        </p:nvSpPr>
        <p:spPr>
          <a:xfrm>
            <a:off x="5081977" y="1321004"/>
            <a:ext cx="45719" cy="10551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ctangle 8"/>
          <p:cNvSpPr/>
          <p:nvPr/>
        </p:nvSpPr>
        <p:spPr>
          <a:xfrm>
            <a:off x="7244343" y="1321033"/>
            <a:ext cx="45719" cy="110217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ctangle 9"/>
          <p:cNvSpPr/>
          <p:nvPr/>
        </p:nvSpPr>
        <p:spPr>
          <a:xfrm>
            <a:off x="4040648" y="1293737"/>
            <a:ext cx="50671" cy="16576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ctangle 10"/>
          <p:cNvSpPr/>
          <p:nvPr/>
        </p:nvSpPr>
        <p:spPr>
          <a:xfrm>
            <a:off x="1908862" y="1268760"/>
            <a:ext cx="45719" cy="21602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ctangle 11"/>
          <p:cNvSpPr/>
          <p:nvPr/>
        </p:nvSpPr>
        <p:spPr>
          <a:xfrm>
            <a:off x="493833" y="1268761"/>
            <a:ext cx="45719" cy="9366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Right Arrow 12"/>
          <p:cNvSpPr/>
          <p:nvPr/>
        </p:nvSpPr>
        <p:spPr>
          <a:xfrm>
            <a:off x="489289" y="1196752"/>
            <a:ext cx="8348560" cy="648072"/>
          </a:xfrm>
          <a:prstGeom prst="rightArrow">
            <a:avLst>
              <a:gd name="adj1" fmla="val 77798"/>
              <a:gd name="adj2" fmla="val 51264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ctangle 13"/>
          <p:cNvSpPr/>
          <p:nvPr/>
        </p:nvSpPr>
        <p:spPr>
          <a:xfrm>
            <a:off x="489289" y="1268760"/>
            <a:ext cx="1465291" cy="50405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Rectangle 14"/>
          <p:cNvSpPr/>
          <p:nvPr/>
        </p:nvSpPr>
        <p:spPr>
          <a:xfrm>
            <a:off x="1954581" y="1268760"/>
            <a:ext cx="2145642" cy="5040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Rectangle 15"/>
          <p:cNvSpPr/>
          <p:nvPr/>
        </p:nvSpPr>
        <p:spPr>
          <a:xfrm>
            <a:off x="4100221" y="1268760"/>
            <a:ext cx="1955429" cy="50405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" name="Rectangle 16"/>
          <p:cNvSpPr/>
          <p:nvPr/>
        </p:nvSpPr>
        <p:spPr>
          <a:xfrm>
            <a:off x="6055650" y="1269335"/>
            <a:ext cx="1224135" cy="50405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TextBox 17"/>
          <p:cNvSpPr txBox="1"/>
          <p:nvPr/>
        </p:nvSpPr>
        <p:spPr>
          <a:xfrm>
            <a:off x="498608" y="1831176"/>
            <a:ext cx="11521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Opstart</a:t>
            </a:r>
          </a:p>
          <a:p>
            <a:r>
              <a:rPr lang="da-DK" sz="1100" dirty="0" smtClean="0"/>
              <a:t>1. april 2014</a:t>
            </a:r>
            <a:endParaRPr lang="da-DK" sz="1600" dirty="0"/>
          </a:p>
        </p:txBody>
      </p:sp>
      <p:sp>
        <p:nvSpPr>
          <p:cNvPr id="19" name="TextBox 18"/>
          <p:cNvSpPr txBox="1"/>
          <p:nvPr/>
        </p:nvSpPr>
        <p:spPr>
          <a:xfrm>
            <a:off x="573863" y="1382288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 smtClean="0"/>
              <a:t>Afklaringsfase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67593" y="1382287"/>
            <a:ext cx="15196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 smtClean="0"/>
              <a:t>Konstruktionsfase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318126" y="1289955"/>
            <a:ext cx="1519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 smtClean="0"/>
              <a:t>Udrulnings- og transitionsfase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907907" y="1282013"/>
            <a:ext cx="15196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 smtClean="0"/>
              <a:t>Driftsprøve og projektafslutn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04718" y="2695579"/>
            <a:ext cx="14401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Godkendelses af </a:t>
            </a:r>
          </a:p>
          <a:p>
            <a:r>
              <a:rPr lang="da-DK" sz="1100" dirty="0" smtClean="0"/>
              <a:t>leverancer fra </a:t>
            </a:r>
          </a:p>
          <a:p>
            <a:r>
              <a:rPr lang="da-DK" sz="1100" dirty="0" smtClean="0"/>
              <a:t>afklaringsfasen</a:t>
            </a:r>
          </a:p>
          <a:p>
            <a:r>
              <a:rPr lang="da-DK" sz="1100" dirty="0" smtClean="0"/>
              <a:t>2. oktober 2014</a:t>
            </a:r>
            <a:endParaRPr lang="da-DK" sz="1600" dirty="0"/>
          </a:p>
        </p:txBody>
      </p:sp>
      <p:sp>
        <p:nvSpPr>
          <p:cNvPr id="24" name="TextBox 23"/>
          <p:cNvSpPr txBox="1"/>
          <p:nvPr/>
        </p:nvSpPr>
        <p:spPr>
          <a:xfrm>
            <a:off x="5076056" y="1823042"/>
            <a:ext cx="14761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Delleverance-</a:t>
            </a:r>
          </a:p>
          <a:p>
            <a:r>
              <a:rPr lang="da-DK" sz="1100" dirty="0" smtClean="0"/>
              <a:t>prøve 2 godkendt</a:t>
            </a:r>
          </a:p>
          <a:p>
            <a:r>
              <a:rPr lang="da-DK" sz="1100" dirty="0" smtClean="0"/>
              <a:t>18. april 2016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12957" y="2453415"/>
            <a:ext cx="14761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Overtagelsesprøve godkendt</a:t>
            </a:r>
          </a:p>
          <a:p>
            <a:r>
              <a:rPr lang="da-DK" sz="1100" dirty="0" smtClean="0"/>
              <a:t>8. august 2016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195736" y="1848576"/>
            <a:ext cx="17065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Seneste </a:t>
            </a:r>
          </a:p>
          <a:p>
            <a:r>
              <a:rPr lang="da-DK" sz="1100" dirty="0" smtClean="0"/>
              <a:t>Udtrædelse</a:t>
            </a:r>
          </a:p>
          <a:p>
            <a:r>
              <a:rPr lang="da-DK" sz="1100" dirty="0" smtClean="0"/>
              <a:t>6. </a:t>
            </a:r>
            <a:r>
              <a:rPr lang="da-DK" sz="1100" dirty="0"/>
              <a:t>n</a:t>
            </a:r>
            <a:r>
              <a:rPr lang="da-DK" sz="1100" dirty="0" smtClean="0"/>
              <a:t>ovember 201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239906" y="1859286"/>
            <a:ext cx="17065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Endelig </a:t>
            </a:r>
          </a:p>
          <a:p>
            <a:r>
              <a:rPr lang="da-DK" sz="1100" dirty="0" smtClean="0"/>
              <a:t>driftsprøve godkendt</a:t>
            </a:r>
          </a:p>
          <a:p>
            <a:r>
              <a:rPr lang="da-DK" sz="1100" dirty="0" smtClean="0"/>
              <a:t>11. november 2016</a:t>
            </a:r>
          </a:p>
        </p:txBody>
      </p:sp>
    </p:spTree>
    <p:extLst>
      <p:ext uri="{BB962C8B-B14F-4D97-AF65-F5344CB8AC3E}">
        <p14:creationId xmlns:p14="http://schemas.microsoft.com/office/powerpoint/2010/main" val="215781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074776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467543" y="576000"/>
            <a:ext cx="8172455" cy="841638"/>
          </a:xfrm>
        </p:spPr>
        <p:txBody>
          <a:bodyPr>
            <a:normAutofit/>
          </a:bodyPr>
          <a:lstStyle/>
          <a:p>
            <a:r>
              <a:rPr lang="da-DK" dirty="0" smtClean="0"/>
              <a:t>Business case - revideret</a:t>
            </a:r>
            <a:br>
              <a:rPr lang="da-DK" dirty="0" smtClean="0"/>
            </a:br>
            <a:endParaRPr lang="da-DK" dirty="0"/>
          </a:p>
        </p:txBody>
      </p:sp>
      <p:pic>
        <p:nvPicPr>
          <p:cNvPr id="1061" name="Picture 3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52736"/>
            <a:ext cx="8068196" cy="4903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1646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mærkninger til B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3525" indent="-2635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Business casen er ved at blive revideret igen (sker ved hver faseovergang) – Driftsprisen bliver forventeligt lidt mindre, da fx datasalg bliver fratrukket driftsprisen for service bussen. </a:t>
            </a:r>
          </a:p>
          <a:p>
            <a:pPr marL="263525" indent="-2635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Der er ikke taget højde for ændret ansvarsfordeling mellem UDK og Kommuner. </a:t>
            </a:r>
          </a:p>
          <a:p>
            <a:pPr marL="263525" indent="-2635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Vi ligger under de nuværende omkostninger, men meget tæt på. </a:t>
            </a:r>
          </a:p>
          <a:p>
            <a:pPr marL="263525" indent="-2635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600" dirty="0"/>
              <a:t>Noget funktionalitet der betales ekstra for i dag, fås fremover som standard, og indgår derfor i prisen (fx automatisk bogføring, digitaliseringsrapport)</a:t>
            </a:r>
          </a:p>
          <a:p>
            <a:pPr marL="263525" indent="-263525" defTabSz="614202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a-DK" sz="1600" dirty="0"/>
              <a:t>Effektiviseringsgevinster er ikke indregnet, men vil komme som følge af de tidligere omtalte forandringer</a:t>
            </a:r>
          </a:p>
          <a:p>
            <a:pPr marL="263525" indent="-263525" defTabSz="614202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a-DK" sz="1600" dirty="0"/>
              <a:t>Der tilbydes e-</a:t>
            </a:r>
            <a:r>
              <a:rPr lang="da-DK" sz="1600" dirty="0" err="1"/>
              <a:t>learning</a:t>
            </a:r>
            <a:r>
              <a:rPr lang="da-DK" sz="1600" dirty="0"/>
              <a:t> som en del af prisen, men øvrig uddannelse skal der betales ekstra for</a:t>
            </a:r>
          </a:p>
          <a:p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4050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4199054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isic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da-DK" sz="2400" dirty="0"/>
              <a:t>Implementeringen (98 kommuner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a-DK" sz="2400" dirty="0"/>
              <a:t>Projektets lange løbetid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da-DK" sz="2400" dirty="0"/>
              <a:t>Sikring af, at CSC følger brugerkravene</a:t>
            </a:r>
          </a:p>
          <a:p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736" y="3284984"/>
            <a:ext cx="4536504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5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126919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s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Pladsholder til indhold 2"/>
          <p:cNvSpPr>
            <a:spLocks noGrp="1"/>
          </p:cNvSpPr>
          <p:nvPr>
            <p:ph idx="1"/>
          </p:nvPr>
        </p:nvSpPr>
        <p:spPr>
          <a:xfrm>
            <a:off x="395536" y="1196752"/>
            <a:ext cx="4464495" cy="4824536"/>
          </a:xfrm>
        </p:spPr>
        <p:txBody>
          <a:bodyPr/>
          <a:lstStyle/>
          <a:p>
            <a:pPr marL="358775" indent="-358775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da-DK" sz="1600" b="1" dirty="0" smtClean="0"/>
              <a:t>Godkendelsestests</a:t>
            </a:r>
          </a:p>
          <a:p>
            <a:pPr marL="358775" lvl="2" indent="-358775">
              <a:spcAft>
                <a:spcPts val="600"/>
              </a:spcAft>
              <a:buNone/>
              <a:tabLst>
                <a:tab pos="358775" algn="l"/>
              </a:tabLst>
            </a:pPr>
            <a:r>
              <a:rPr lang="da-DK" sz="1600" dirty="0" smtClean="0"/>
              <a:t>	</a:t>
            </a:r>
            <a:r>
              <a:rPr lang="da-DK" sz="1400" dirty="0" smtClean="0"/>
              <a:t>Bliver udført inden for de 	forskellige funktionelle spor</a:t>
            </a:r>
          </a:p>
          <a:p>
            <a:pPr marL="358775" lvl="2" indent="-358775">
              <a:spcAft>
                <a:spcPts val="600"/>
              </a:spcAft>
              <a:buNone/>
              <a:tabLst>
                <a:tab pos="358775" algn="l"/>
              </a:tabLst>
            </a:pPr>
            <a:r>
              <a:rPr lang="da-DK" sz="1400" dirty="0" smtClean="0"/>
              <a:t>	Specifikt for selvbetjening 	inddrages specialisterne og 	repræsentanter for brugerne</a:t>
            </a:r>
          </a:p>
          <a:p>
            <a:pPr marL="358775" indent="-358775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da-DK" sz="1600" b="1" dirty="0" smtClean="0"/>
              <a:t>Prøver</a:t>
            </a:r>
          </a:p>
          <a:p>
            <a:pPr marL="358775" lvl="2" indent="-358775">
              <a:spcAft>
                <a:spcPts val="600"/>
              </a:spcAft>
              <a:buNone/>
              <a:tabLst>
                <a:tab pos="358775" algn="l"/>
              </a:tabLst>
            </a:pPr>
            <a:r>
              <a:rPr lang="da-DK" sz="1600" dirty="0"/>
              <a:t>	</a:t>
            </a:r>
            <a:r>
              <a:rPr lang="da-DK" sz="1400" dirty="0" smtClean="0"/>
              <a:t>Bliver udført dels af rolle 5 og 	dels af deltagere fra de andre 	roller</a:t>
            </a:r>
          </a:p>
          <a:p>
            <a:pPr marL="358775" lvl="1" indent="-358775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358775" algn="l"/>
              </a:tabLst>
            </a:pPr>
            <a:r>
              <a:rPr lang="da-DK" sz="1600" b="1" dirty="0" smtClean="0">
                <a:solidFill>
                  <a:schemeClr val="tx1"/>
                </a:solidFill>
              </a:rPr>
              <a:t>Implementeringstest</a:t>
            </a:r>
          </a:p>
          <a:p>
            <a:pPr marL="358775" lvl="1" indent="-358775">
              <a:lnSpc>
                <a:spcPct val="100000"/>
              </a:lnSpc>
              <a:spcAft>
                <a:spcPts val="600"/>
              </a:spcAft>
              <a:tabLst>
                <a:tab pos="358775" algn="l"/>
              </a:tabLst>
            </a:pPr>
            <a:r>
              <a:rPr lang="da-DK" sz="1600" b="0" dirty="0" smtClean="0">
                <a:solidFill>
                  <a:schemeClr val="tx1"/>
                </a:solidFill>
              </a:rPr>
              <a:t>	</a:t>
            </a:r>
            <a:r>
              <a:rPr lang="da-DK" sz="1400" b="0" dirty="0" smtClean="0">
                <a:solidFill>
                  <a:schemeClr val="tx1"/>
                </a:solidFill>
              </a:rPr>
              <a:t>Check </a:t>
            </a:r>
            <a:r>
              <a:rPr lang="da-DK" sz="1400" b="0" dirty="0">
                <a:solidFill>
                  <a:schemeClr val="tx1"/>
                </a:solidFill>
              </a:rPr>
              <a:t>af konvertering foretages af et udsnit </a:t>
            </a:r>
            <a:r>
              <a:rPr lang="da-DK" sz="1400" b="0" dirty="0" smtClean="0">
                <a:solidFill>
                  <a:schemeClr val="tx1"/>
                </a:solidFill>
              </a:rPr>
              <a:t>af pilotkommunerne</a:t>
            </a:r>
            <a:r>
              <a:rPr lang="da-DK" sz="1400" b="0" dirty="0">
                <a:solidFill>
                  <a:schemeClr val="tx1"/>
                </a:solidFill>
              </a:rPr>
              <a:t>, transitionstest af hver kommune</a:t>
            </a:r>
          </a:p>
          <a:p>
            <a:pPr marL="358775" lvl="1" indent="-358775">
              <a:buFont typeface="Arial" panose="020B0604020202020204" pitchFamily="34" charset="0"/>
              <a:buChar char="•"/>
              <a:tabLst>
                <a:tab pos="358775" algn="l"/>
              </a:tabLst>
            </a:pPr>
            <a:endParaRPr lang="da-DK" sz="1600" b="1" dirty="0" smtClean="0">
              <a:solidFill>
                <a:schemeClr val="tx1"/>
              </a:solidFill>
            </a:endParaRPr>
          </a:p>
          <a:p>
            <a:pPr lvl="3" indent="0">
              <a:buNone/>
            </a:pPr>
            <a:r>
              <a:rPr lang="da-DK" dirty="0" smtClean="0"/>
              <a:t>	</a:t>
            </a:r>
            <a:endParaRPr lang="da-DK" dirty="0"/>
          </a:p>
          <a:p>
            <a:endParaRPr lang="da-DK" dirty="0" smtClean="0"/>
          </a:p>
          <a:p>
            <a:endParaRPr lang="da-DK" dirty="0"/>
          </a:p>
        </p:txBody>
      </p:sp>
      <p:pic>
        <p:nvPicPr>
          <p:cNvPr id="6" name="Billed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526" y="1124744"/>
            <a:ext cx="4174747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63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1444439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539431"/>
              </p:ext>
            </p:extLst>
          </p:nvPr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1679320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cessen for implementering af Praksys.dk i Kommunerne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Pladsholder til indhold 2"/>
          <p:cNvSpPr txBox="1">
            <a:spLocks/>
          </p:cNvSpPr>
          <p:nvPr/>
        </p:nvSpPr>
        <p:spPr>
          <a:xfrm>
            <a:off x="467999" y="1584000"/>
            <a:ext cx="4536049" cy="422126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0000" indent="-180000" algn="l" defTabSz="3600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1188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4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8436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63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smtClean="0"/>
              <a:t>Implementering i to trin, hvor Kommunerne i Region Nord fungerer som pilot. </a:t>
            </a:r>
            <a:br>
              <a:rPr lang="da-DK" sz="1600" smtClean="0"/>
            </a:br>
            <a:endParaRPr lang="da-DK" sz="160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smtClean="0"/>
              <a:t>I andet trin implementeres alle øvrige kommuner.</a:t>
            </a:r>
            <a:br>
              <a:rPr lang="da-DK" sz="1600" smtClean="0"/>
            </a:br>
            <a:endParaRPr lang="da-DK" sz="160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smtClean="0"/>
              <a:t>Hypercare 2 gange 3 dage i forbindelse med hvert trin. I forhold til trin 2 foreslår Leverandøren, at der udvælges op til 4 nøglekommuner, hvor Leverandøren så er til sted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5" t="22968" r="61680" b="28303"/>
          <a:stretch/>
        </p:blipFill>
        <p:spPr bwMode="auto">
          <a:xfrm>
            <a:off x="5148064" y="1558686"/>
            <a:ext cx="3834871" cy="3589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358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189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677229315"/>
              </p:ext>
            </p:extLst>
          </p:nvPr>
        </p:nvGraphicFramePr>
        <p:xfrm>
          <a:off x="467542" y="1407401"/>
          <a:ext cx="8172455" cy="44698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oller og ansvar i implementeringsarbejdet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7089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Opgaver til kommunale implementeringsansvarli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551714358"/>
              </p:ext>
            </p:extLst>
          </p:nvPr>
        </p:nvGraphicFramePr>
        <p:xfrm>
          <a:off x="467542" y="1124744"/>
          <a:ext cx="8064897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2901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Kommunal </a:t>
            </a:r>
            <a:r>
              <a:rPr lang="da-DK" dirty="0" smtClean="0"/>
              <a:t>organisering af roller ifm. implementering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TextBox 4"/>
          <p:cNvSpPr txBox="1"/>
          <p:nvPr/>
        </p:nvSpPr>
        <p:spPr>
          <a:xfrm>
            <a:off x="3808789" y="6012747"/>
            <a:ext cx="27674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Kommunal Implementeringsansvarlig</a:t>
            </a:r>
            <a:endParaRPr lang="da-DK" sz="1100" dirty="0"/>
          </a:p>
        </p:txBody>
      </p:sp>
      <p:sp>
        <p:nvSpPr>
          <p:cNvPr id="6" name="Rounded Rectangle 5"/>
          <p:cNvSpPr/>
          <p:nvPr/>
        </p:nvSpPr>
        <p:spPr>
          <a:xfrm>
            <a:off x="467542" y="1700808"/>
            <a:ext cx="8172455" cy="43204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dirty="0" smtClean="0"/>
              <a:t>Overordnet implementeringsansvarlig for kommunerne</a:t>
            </a:r>
            <a:endParaRPr lang="da-DK" sz="1100" dirty="0"/>
          </a:p>
        </p:txBody>
      </p:sp>
      <p:sp>
        <p:nvSpPr>
          <p:cNvPr id="7" name="Rounded Rectangle 6"/>
          <p:cNvSpPr/>
          <p:nvPr/>
        </p:nvSpPr>
        <p:spPr>
          <a:xfrm>
            <a:off x="467542" y="2420888"/>
            <a:ext cx="155409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 smtClean="0"/>
              <a:t>Regional implementeringsansvarlig for kommuner i Region Hovedstaden</a:t>
            </a:r>
            <a:endParaRPr lang="da-DK" sz="900" dirty="0"/>
          </a:p>
        </p:txBody>
      </p:sp>
      <p:sp>
        <p:nvSpPr>
          <p:cNvPr id="8" name="Rounded Rectangle 7"/>
          <p:cNvSpPr/>
          <p:nvPr/>
        </p:nvSpPr>
        <p:spPr>
          <a:xfrm>
            <a:off x="2122133" y="2420888"/>
            <a:ext cx="155409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 smtClean="0"/>
              <a:t>Regional implementeringsansvarlig for kommuner i </a:t>
            </a:r>
            <a:r>
              <a:rPr lang="da-DK" sz="900" dirty="0"/>
              <a:t>Region </a:t>
            </a:r>
            <a:r>
              <a:rPr lang="da-DK" sz="900" dirty="0" smtClean="0"/>
              <a:t>Sjælland</a:t>
            </a:r>
            <a:endParaRPr lang="da-DK" sz="900" dirty="0"/>
          </a:p>
        </p:txBody>
      </p:sp>
      <p:sp>
        <p:nvSpPr>
          <p:cNvPr id="9" name="Rounded Rectangle 8"/>
          <p:cNvSpPr/>
          <p:nvPr/>
        </p:nvSpPr>
        <p:spPr>
          <a:xfrm>
            <a:off x="3776724" y="2420888"/>
            <a:ext cx="155409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 smtClean="0"/>
              <a:t>Regional </a:t>
            </a:r>
            <a:r>
              <a:rPr lang="da-DK" sz="900" dirty="0"/>
              <a:t>implementeringsansvarlig </a:t>
            </a:r>
            <a:r>
              <a:rPr lang="da-DK" sz="900" dirty="0" smtClean="0"/>
              <a:t>for kommuner i </a:t>
            </a:r>
            <a:r>
              <a:rPr lang="da-DK" sz="900" dirty="0"/>
              <a:t>Region </a:t>
            </a:r>
            <a:r>
              <a:rPr lang="da-DK" sz="900" dirty="0" smtClean="0"/>
              <a:t>Syddanmark</a:t>
            </a:r>
            <a:endParaRPr lang="da-DK" sz="900" dirty="0"/>
          </a:p>
        </p:txBody>
      </p:sp>
      <p:sp>
        <p:nvSpPr>
          <p:cNvPr id="10" name="Rounded Rectangle 9"/>
          <p:cNvSpPr/>
          <p:nvPr/>
        </p:nvSpPr>
        <p:spPr>
          <a:xfrm>
            <a:off x="5431315" y="2420888"/>
            <a:ext cx="155409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Regional implementeringsansvarlig </a:t>
            </a:r>
            <a:r>
              <a:rPr lang="da-DK" sz="900" dirty="0" smtClean="0"/>
              <a:t>for kommuner i </a:t>
            </a:r>
            <a:r>
              <a:rPr lang="da-DK" sz="900" dirty="0"/>
              <a:t>Region </a:t>
            </a:r>
            <a:r>
              <a:rPr lang="da-DK" sz="900" dirty="0" smtClean="0"/>
              <a:t>Midtjylland</a:t>
            </a:r>
            <a:endParaRPr lang="da-DK" sz="900" dirty="0"/>
          </a:p>
        </p:txBody>
      </p:sp>
      <p:sp>
        <p:nvSpPr>
          <p:cNvPr id="11" name="Rounded Rectangle 10"/>
          <p:cNvSpPr/>
          <p:nvPr/>
        </p:nvSpPr>
        <p:spPr>
          <a:xfrm>
            <a:off x="7085907" y="2416026"/>
            <a:ext cx="155409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Regional implementeringsansvarlig </a:t>
            </a:r>
            <a:r>
              <a:rPr lang="da-DK" sz="900" dirty="0" smtClean="0"/>
              <a:t>for kommuner i </a:t>
            </a:r>
            <a:r>
              <a:rPr lang="da-DK" sz="900" dirty="0"/>
              <a:t>Region </a:t>
            </a:r>
            <a:r>
              <a:rPr lang="da-DK" sz="900" dirty="0" smtClean="0"/>
              <a:t>Nordjylland</a:t>
            </a:r>
            <a:endParaRPr lang="da-DK" sz="900" dirty="0"/>
          </a:p>
        </p:txBody>
      </p:sp>
      <p:sp>
        <p:nvSpPr>
          <p:cNvPr id="12" name="Oval 11"/>
          <p:cNvSpPr/>
          <p:nvPr/>
        </p:nvSpPr>
        <p:spPr>
          <a:xfrm>
            <a:off x="467542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Oval 12"/>
          <p:cNvSpPr/>
          <p:nvPr/>
        </p:nvSpPr>
        <p:spPr>
          <a:xfrm>
            <a:off x="467542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Oval 13"/>
          <p:cNvSpPr/>
          <p:nvPr/>
        </p:nvSpPr>
        <p:spPr>
          <a:xfrm>
            <a:off x="467542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Oval 14"/>
          <p:cNvSpPr/>
          <p:nvPr/>
        </p:nvSpPr>
        <p:spPr>
          <a:xfrm>
            <a:off x="467542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Oval 15"/>
          <p:cNvSpPr/>
          <p:nvPr/>
        </p:nvSpPr>
        <p:spPr>
          <a:xfrm>
            <a:off x="467542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" name="Oval 16"/>
          <p:cNvSpPr/>
          <p:nvPr/>
        </p:nvSpPr>
        <p:spPr>
          <a:xfrm>
            <a:off x="467542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Oval 17"/>
          <p:cNvSpPr/>
          <p:nvPr/>
        </p:nvSpPr>
        <p:spPr>
          <a:xfrm>
            <a:off x="467542" y="477203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Oval 18"/>
          <p:cNvSpPr/>
          <p:nvPr/>
        </p:nvSpPr>
        <p:spPr>
          <a:xfrm>
            <a:off x="467542" y="499880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" name="Oval 19"/>
          <p:cNvSpPr/>
          <p:nvPr/>
        </p:nvSpPr>
        <p:spPr>
          <a:xfrm>
            <a:off x="467542" y="522556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Oval 20"/>
          <p:cNvSpPr/>
          <p:nvPr/>
        </p:nvSpPr>
        <p:spPr>
          <a:xfrm>
            <a:off x="467542" y="545233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" name="Oval 21"/>
          <p:cNvSpPr/>
          <p:nvPr/>
        </p:nvSpPr>
        <p:spPr>
          <a:xfrm>
            <a:off x="467542" y="567910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" name="Oval 22"/>
          <p:cNvSpPr/>
          <p:nvPr/>
        </p:nvSpPr>
        <p:spPr>
          <a:xfrm>
            <a:off x="467542" y="590587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Oval 23"/>
          <p:cNvSpPr/>
          <p:nvPr/>
        </p:nvSpPr>
        <p:spPr>
          <a:xfrm>
            <a:off x="1039529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" name="Oval 24"/>
          <p:cNvSpPr/>
          <p:nvPr/>
        </p:nvSpPr>
        <p:spPr>
          <a:xfrm>
            <a:off x="1039529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Oval 25"/>
          <p:cNvSpPr/>
          <p:nvPr/>
        </p:nvSpPr>
        <p:spPr>
          <a:xfrm>
            <a:off x="1039529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" name="Oval 26"/>
          <p:cNvSpPr/>
          <p:nvPr/>
        </p:nvSpPr>
        <p:spPr>
          <a:xfrm>
            <a:off x="1039529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" name="Oval 27"/>
          <p:cNvSpPr/>
          <p:nvPr/>
        </p:nvSpPr>
        <p:spPr>
          <a:xfrm>
            <a:off x="1039529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" name="Oval 28"/>
          <p:cNvSpPr/>
          <p:nvPr/>
        </p:nvSpPr>
        <p:spPr>
          <a:xfrm>
            <a:off x="1039529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" name="Oval 29"/>
          <p:cNvSpPr/>
          <p:nvPr/>
        </p:nvSpPr>
        <p:spPr>
          <a:xfrm>
            <a:off x="1039529" y="477203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" name="Oval 30"/>
          <p:cNvSpPr/>
          <p:nvPr/>
        </p:nvSpPr>
        <p:spPr>
          <a:xfrm>
            <a:off x="1039529" y="499880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" name="Oval 31"/>
          <p:cNvSpPr/>
          <p:nvPr/>
        </p:nvSpPr>
        <p:spPr>
          <a:xfrm>
            <a:off x="1039529" y="522556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" name="Oval 32"/>
          <p:cNvSpPr/>
          <p:nvPr/>
        </p:nvSpPr>
        <p:spPr>
          <a:xfrm>
            <a:off x="1039529" y="545233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" name="Oval 33"/>
          <p:cNvSpPr/>
          <p:nvPr/>
        </p:nvSpPr>
        <p:spPr>
          <a:xfrm>
            <a:off x="1039529" y="567910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5" name="Oval 34"/>
          <p:cNvSpPr/>
          <p:nvPr/>
        </p:nvSpPr>
        <p:spPr>
          <a:xfrm>
            <a:off x="1039529" y="590587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6" name="Oval 35"/>
          <p:cNvSpPr/>
          <p:nvPr/>
        </p:nvSpPr>
        <p:spPr>
          <a:xfrm>
            <a:off x="1591209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7" name="Oval 36"/>
          <p:cNvSpPr/>
          <p:nvPr/>
        </p:nvSpPr>
        <p:spPr>
          <a:xfrm>
            <a:off x="1591209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Oval 37"/>
          <p:cNvSpPr/>
          <p:nvPr/>
        </p:nvSpPr>
        <p:spPr>
          <a:xfrm>
            <a:off x="1591209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Oval 38"/>
          <p:cNvSpPr/>
          <p:nvPr/>
        </p:nvSpPr>
        <p:spPr>
          <a:xfrm>
            <a:off x="1591209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Oval 39"/>
          <p:cNvSpPr/>
          <p:nvPr/>
        </p:nvSpPr>
        <p:spPr>
          <a:xfrm>
            <a:off x="1591209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Oval 40"/>
          <p:cNvSpPr/>
          <p:nvPr/>
        </p:nvSpPr>
        <p:spPr>
          <a:xfrm>
            <a:off x="1591209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Oval 41"/>
          <p:cNvSpPr/>
          <p:nvPr/>
        </p:nvSpPr>
        <p:spPr>
          <a:xfrm>
            <a:off x="1591209" y="477203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3" name="Oval 42"/>
          <p:cNvSpPr/>
          <p:nvPr/>
        </p:nvSpPr>
        <p:spPr>
          <a:xfrm>
            <a:off x="1591209" y="499880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Oval 43"/>
          <p:cNvSpPr/>
          <p:nvPr/>
        </p:nvSpPr>
        <p:spPr>
          <a:xfrm>
            <a:off x="1591209" y="522556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Oval 44"/>
          <p:cNvSpPr/>
          <p:nvPr/>
        </p:nvSpPr>
        <p:spPr>
          <a:xfrm>
            <a:off x="1591209" y="545233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6" name="Oval 45"/>
          <p:cNvSpPr/>
          <p:nvPr/>
        </p:nvSpPr>
        <p:spPr>
          <a:xfrm>
            <a:off x="1591209" y="567910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7" name="Oval 46"/>
          <p:cNvSpPr/>
          <p:nvPr/>
        </p:nvSpPr>
        <p:spPr>
          <a:xfrm>
            <a:off x="1591209" y="590587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8" name="Oval 47"/>
          <p:cNvSpPr/>
          <p:nvPr/>
        </p:nvSpPr>
        <p:spPr>
          <a:xfrm>
            <a:off x="467542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9" name="Oval 48"/>
          <p:cNvSpPr/>
          <p:nvPr/>
        </p:nvSpPr>
        <p:spPr>
          <a:xfrm>
            <a:off x="1039529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0" name="Oval 49"/>
          <p:cNvSpPr/>
          <p:nvPr/>
        </p:nvSpPr>
        <p:spPr>
          <a:xfrm>
            <a:off x="1591209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" name="Oval 50"/>
          <p:cNvSpPr/>
          <p:nvPr/>
        </p:nvSpPr>
        <p:spPr>
          <a:xfrm>
            <a:off x="659634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Oval 51"/>
          <p:cNvSpPr/>
          <p:nvPr/>
        </p:nvSpPr>
        <p:spPr>
          <a:xfrm>
            <a:off x="790208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3" name="Oval 52"/>
          <p:cNvSpPr/>
          <p:nvPr/>
        </p:nvSpPr>
        <p:spPr>
          <a:xfrm>
            <a:off x="659634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4" name="Oval 53"/>
          <p:cNvSpPr/>
          <p:nvPr/>
        </p:nvSpPr>
        <p:spPr>
          <a:xfrm>
            <a:off x="790208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5" name="Oval 54"/>
          <p:cNvSpPr/>
          <p:nvPr/>
        </p:nvSpPr>
        <p:spPr>
          <a:xfrm>
            <a:off x="659634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6" name="Oval 55"/>
          <p:cNvSpPr/>
          <p:nvPr/>
        </p:nvSpPr>
        <p:spPr>
          <a:xfrm>
            <a:off x="790208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7" name="Oval 56"/>
          <p:cNvSpPr/>
          <p:nvPr/>
        </p:nvSpPr>
        <p:spPr>
          <a:xfrm>
            <a:off x="659634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8" name="Oval 57"/>
          <p:cNvSpPr/>
          <p:nvPr/>
        </p:nvSpPr>
        <p:spPr>
          <a:xfrm>
            <a:off x="790208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9" name="Oval 58"/>
          <p:cNvSpPr/>
          <p:nvPr/>
        </p:nvSpPr>
        <p:spPr>
          <a:xfrm>
            <a:off x="659634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0" name="Oval 59"/>
          <p:cNvSpPr/>
          <p:nvPr/>
        </p:nvSpPr>
        <p:spPr>
          <a:xfrm>
            <a:off x="790208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" name="Oval 60"/>
          <p:cNvSpPr/>
          <p:nvPr/>
        </p:nvSpPr>
        <p:spPr>
          <a:xfrm>
            <a:off x="659634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2" name="Oval 61"/>
          <p:cNvSpPr/>
          <p:nvPr/>
        </p:nvSpPr>
        <p:spPr>
          <a:xfrm>
            <a:off x="790208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3" name="Oval 62"/>
          <p:cNvSpPr/>
          <p:nvPr/>
        </p:nvSpPr>
        <p:spPr>
          <a:xfrm>
            <a:off x="659634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4" name="Oval 63"/>
          <p:cNvSpPr/>
          <p:nvPr/>
        </p:nvSpPr>
        <p:spPr>
          <a:xfrm>
            <a:off x="790208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5" name="Oval 64"/>
          <p:cNvSpPr/>
          <p:nvPr/>
        </p:nvSpPr>
        <p:spPr>
          <a:xfrm>
            <a:off x="659634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6" name="Oval 65"/>
          <p:cNvSpPr/>
          <p:nvPr/>
        </p:nvSpPr>
        <p:spPr>
          <a:xfrm>
            <a:off x="790208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7" name="Oval 66"/>
          <p:cNvSpPr/>
          <p:nvPr/>
        </p:nvSpPr>
        <p:spPr>
          <a:xfrm>
            <a:off x="659634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8" name="Oval 67"/>
          <p:cNvSpPr/>
          <p:nvPr/>
        </p:nvSpPr>
        <p:spPr>
          <a:xfrm>
            <a:off x="790208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9" name="Oval 68"/>
          <p:cNvSpPr/>
          <p:nvPr/>
        </p:nvSpPr>
        <p:spPr>
          <a:xfrm>
            <a:off x="659634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0" name="Oval 69"/>
          <p:cNvSpPr/>
          <p:nvPr/>
        </p:nvSpPr>
        <p:spPr>
          <a:xfrm>
            <a:off x="790208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1" name="Oval 70"/>
          <p:cNvSpPr/>
          <p:nvPr/>
        </p:nvSpPr>
        <p:spPr>
          <a:xfrm>
            <a:off x="659634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2" name="Oval 71"/>
          <p:cNvSpPr/>
          <p:nvPr/>
        </p:nvSpPr>
        <p:spPr>
          <a:xfrm>
            <a:off x="790208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3" name="Oval 72"/>
          <p:cNvSpPr/>
          <p:nvPr/>
        </p:nvSpPr>
        <p:spPr>
          <a:xfrm>
            <a:off x="659634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4" name="Oval 73"/>
          <p:cNvSpPr/>
          <p:nvPr/>
        </p:nvSpPr>
        <p:spPr>
          <a:xfrm>
            <a:off x="790208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5" name="Oval 74"/>
          <p:cNvSpPr/>
          <p:nvPr/>
        </p:nvSpPr>
        <p:spPr>
          <a:xfrm>
            <a:off x="659634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6" name="Oval 75"/>
          <p:cNvSpPr/>
          <p:nvPr/>
        </p:nvSpPr>
        <p:spPr>
          <a:xfrm>
            <a:off x="790208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7" name="Oval 76"/>
          <p:cNvSpPr/>
          <p:nvPr/>
        </p:nvSpPr>
        <p:spPr>
          <a:xfrm>
            <a:off x="1227964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8" name="Oval 77"/>
          <p:cNvSpPr/>
          <p:nvPr/>
        </p:nvSpPr>
        <p:spPr>
          <a:xfrm>
            <a:off x="1358538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9" name="Oval 78"/>
          <p:cNvSpPr/>
          <p:nvPr/>
        </p:nvSpPr>
        <p:spPr>
          <a:xfrm>
            <a:off x="1227964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0" name="Oval 79"/>
          <p:cNvSpPr/>
          <p:nvPr/>
        </p:nvSpPr>
        <p:spPr>
          <a:xfrm>
            <a:off x="1358538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1" name="Oval 80"/>
          <p:cNvSpPr/>
          <p:nvPr/>
        </p:nvSpPr>
        <p:spPr>
          <a:xfrm>
            <a:off x="1227964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2" name="Oval 81"/>
          <p:cNvSpPr/>
          <p:nvPr/>
        </p:nvSpPr>
        <p:spPr>
          <a:xfrm>
            <a:off x="1358538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3" name="Oval 82"/>
          <p:cNvSpPr/>
          <p:nvPr/>
        </p:nvSpPr>
        <p:spPr>
          <a:xfrm>
            <a:off x="1227964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4" name="Oval 83"/>
          <p:cNvSpPr/>
          <p:nvPr/>
        </p:nvSpPr>
        <p:spPr>
          <a:xfrm>
            <a:off x="1358538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5" name="Oval 84"/>
          <p:cNvSpPr/>
          <p:nvPr/>
        </p:nvSpPr>
        <p:spPr>
          <a:xfrm>
            <a:off x="1227964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6" name="Oval 85"/>
          <p:cNvSpPr/>
          <p:nvPr/>
        </p:nvSpPr>
        <p:spPr>
          <a:xfrm>
            <a:off x="1358538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7" name="Oval 86"/>
          <p:cNvSpPr/>
          <p:nvPr/>
        </p:nvSpPr>
        <p:spPr>
          <a:xfrm>
            <a:off x="1227964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8" name="Oval 87"/>
          <p:cNvSpPr/>
          <p:nvPr/>
        </p:nvSpPr>
        <p:spPr>
          <a:xfrm>
            <a:off x="1358538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9" name="Oval 88"/>
          <p:cNvSpPr/>
          <p:nvPr/>
        </p:nvSpPr>
        <p:spPr>
          <a:xfrm>
            <a:off x="1227964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0" name="Oval 89"/>
          <p:cNvSpPr/>
          <p:nvPr/>
        </p:nvSpPr>
        <p:spPr>
          <a:xfrm>
            <a:off x="1358538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1" name="Oval 90"/>
          <p:cNvSpPr/>
          <p:nvPr/>
        </p:nvSpPr>
        <p:spPr>
          <a:xfrm>
            <a:off x="1227964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2" name="Oval 91"/>
          <p:cNvSpPr/>
          <p:nvPr/>
        </p:nvSpPr>
        <p:spPr>
          <a:xfrm>
            <a:off x="1358538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3" name="Oval 92"/>
          <p:cNvSpPr/>
          <p:nvPr/>
        </p:nvSpPr>
        <p:spPr>
          <a:xfrm>
            <a:off x="1227964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4" name="Oval 93"/>
          <p:cNvSpPr/>
          <p:nvPr/>
        </p:nvSpPr>
        <p:spPr>
          <a:xfrm>
            <a:off x="1358538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5" name="Oval 94"/>
          <p:cNvSpPr/>
          <p:nvPr/>
        </p:nvSpPr>
        <p:spPr>
          <a:xfrm>
            <a:off x="1227964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6" name="Oval 95"/>
          <p:cNvSpPr/>
          <p:nvPr/>
        </p:nvSpPr>
        <p:spPr>
          <a:xfrm>
            <a:off x="1358538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7" name="Oval 96"/>
          <p:cNvSpPr/>
          <p:nvPr/>
        </p:nvSpPr>
        <p:spPr>
          <a:xfrm>
            <a:off x="1227964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8" name="Oval 97"/>
          <p:cNvSpPr/>
          <p:nvPr/>
        </p:nvSpPr>
        <p:spPr>
          <a:xfrm>
            <a:off x="1358538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9" name="Oval 98"/>
          <p:cNvSpPr/>
          <p:nvPr/>
        </p:nvSpPr>
        <p:spPr>
          <a:xfrm>
            <a:off x="1227964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0" name="Oval 99"/>
          <p:cNvSpPr/>
          <p:nvPr/>
        </p:nvSpPr>
        <p:spPr>
          <a:xfrm>
            <a:off x="1358538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1" name="Oval 100"/>
          <p:cNvSpPr/>
          <p:nvPr/>
        </p:nvSpPr>
        <p:spPr>
          <a:xfrm>
            <a:off x="1227964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2" name="Oval 101"/>
          <p:cNvSpPr/>
          <p:nvPr/>
        </p:nvSpPr>
        <p:spPr>
          <a:xfrm>
            <a:off x="1358538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3" name="Oval 102"/>
          <p:cNvSpPr/>
          <p:nvPr/>
        </p:nvSpPr>
        <p:spPr>
          <a:xfrm>
            <a:off x="1800223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4" name="Oval 103"/>
          <p:cNvSpPr/>
          <p:nvPr/>
        </p:nvSpPr>
        <p:spPr>
          <a:xfrm>
            <a:off x="1930797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5" name="Oval 104"/>
          <p:cNvSpPr/>
          <p:nvPr/>
        </p:nvSpPr>
        <p:spPr>
          <a:xfrm>
            <a:off x="1800223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6" name="Oval 105"/>
          <p:cNvSpPr/>
          <p:nvPr/>
        </p:nvSpPr>
        <p:spPr>
          <a:xfrm>
            <a:off x="1930797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7" name="Oval 106"/>
          <p:cNvSpPr/>
          <p:nvPr/>
        </p:nvSpPr>
        <p:spPr>
          <a:xfrm>
            <a:off x="1800223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8" name="Oval 107"/>
          <p:cNvSpPr/>
          <p:nvPr/>
        </p:nvSpPr>
        <p:spPr>
          <a:xfrm>
            <a:off x="1930797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9" name="Oval 108"/>
          <p:cNvSpPr/>
          <p:nvPr/>
        </p:nvSpPr>
        <p:spPr>
          <a:xfrm>
            <a:off x="1800223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0" name="Oval 109"/>
          <p:cNvSpPr/>
          <p:nvPr/>
        </p:nvSpPr>
        <p:spPr>
          <a:xfrm>
            <a:off x="1930797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1" name="Oval 110"/>
          <p:cNvSpPr/>
          <p:nvPr/>
        </p:nvSpPr>
        <p:spPr>
          <a:xfrm>
            <a:off x="1800223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2" name="Oval 111"/>
          <p:cNvSpPr/>
          <p:nvPr/>
        </p:nvSpPr>
        <p:spPr>
          <a:xfrm>
            <a:off x="1930797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3" name="Oval 112"/>
          <p:cNvSpPr/>
          <p:nvPr/>
        </p:nvSpPr>
        <p:spPr>
          <a:xfrm>
            <a:off x="1800223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4" name="Oval 113"/>
          <p:cNvSpPr/>
          <p:nvPr/>
        </p:nvSpPr>
        <p:spPr>
          <a:xfrm>
            <a:off x="1930797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5" name="Oval 114"/>
          <p:cNvSpPr/>
          <p:nvPr/>
        </p:nvSpPr>
        <p:spPr>
          <a:xfrm>
            <a:off x="1800223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6" name="Oval 115"/>
          <p:cNvSpPr/>
          <p:nvPr/>
        </p:nvSpPr>
        <p:spPr>
          <a:xfrm>
            <a:off x="1930797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7" name="Oval 116"/>
          <p:cNvSpPr/>
          <p:nvPr/>
        </p:nvSpPr>
        <p:spPr>
          <a:xfrm>
            <a:off x="1800223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8" name="Oval 117"/>
          <p:cNvSpPr/>
          <p:nvPr/>
        </p:nvSpPr>
        <p:spPr>
          <a:xfrm>
            <a:off x="1930797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9" name="Oval 118"/>
          <p:cNvSpPr/>
          <p:nvPr/>
        </p:nvSpPr>
        <p:spPr>
          <a:xfrm>
            <a:off x="1800223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0" name="Oval 119"/>
          <p:cNvSpPr/>
          <p:nvPr/>
        </p:nvSpPr>
        <p:spPr>
          <a:xfrm>
            <a:off x="1930797" y="50308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1" name="Oval 120"/>
          <p:cNvSpPr/>
          <p:nvPr/>
        </p:nvSpPr>
        <p:spPr>
          <a:xfrm>
            <a:off x="1800223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2" name="Oval 121"/>
          <p:cNvSpPr/>
          <p:nvPr/>
        </p:nvSpPr>
        <p:spPr>
          <a:xfrm>
            <a:off x="1930797" y="5259869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3" name="Oval 122"/>
          <p:cNvSpPr/>
          <p:nvPr/>
        </p:nvSpPr>
        <p:spPr>
          <a:xfrm>
            <a:off x="1800223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4" name="Oval 123"/>
          <p:cNvSpPr/>
          <p:nvPr/>
        </p:nvSpPr>
        <p:spPr>
          <a:xfrm>
            <a:off x="1930797" y="547480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5" name="Oval 124"/>
          <p:cNvSpPr/>
          <p:nvPr/>
        </p:nvSpPr>
        <p:spPr>
          <a:xfrm>
            <a:off x="1800223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6" name="Oval 125"/>
          <p:cNvSpPr/>
          <p:nvPr/>
        </p:nvSpPr>
        <p:spPr>
          <a:xfrm>
            <a:off x="1930797" y="57093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7" name="Oval 126"/>
          <p:cNvSpPr/>
          <p:nvPr/>
        </p:nvSpPr>
        <p:spPr>
          <a:xfrm>
            <a:off x="1800223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8" name="Oval 127"/>
          <p:cNvSpPr/>
          <p:nvPr/>
        </p:nvSpPr>
        <p:spPr>
          <a:xfrm>
            <a:off x="1930797" y="594124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9" name="Oval 128"/>
          <p:cNvSpPr/>
          <p:nvPr/>
        </p:nvSpPr>
        <p:spPr>
          <a:xfrm>
            <a:off x="2132131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0" name="Oval 129"/>
          <p:cNvSpPr/>
          <p:nvPr/>
        </p:nvSpPr>
        <p:spPr>
          <a:xfrm>
            <a:off x="2132131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1" name="Oval 130"/>
          <p:cNvSpPr/>
          <p:nvPr/>
        </p:nvSpPr>
        <p:spPr>
          <a:xfrm>
            <a:off x="2132131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2" name="Oval 131"/>
          <p:cNvSpPr/>
          <p:nvPr/>
        </p:nvSpPr>
        <p:spPr>
          <a:xfrm>
            <a:off x="2132131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3" name="Oval 132"/>
          <p:cNvSpPr/>
          <p:nvPr/>
        </p:nvSpPr>
        <p:spPr>
          <a:xfrm>
            <a:off x="2132131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4" name="Oval 133"/>
          <p:cNvSpPr/>
          <p:nvPr/>
        </p:nvSpPr>
        <p:spPr>
          <a:xfrm>
            <a:off x="2704118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5" name="Oval 134"/>
          <p:cNvSpPr/>
          <p:nvPr/>
        </p:nvSpPr>
        <p:spPr>
          <a:xfrm>
            <a:off x="2704118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6" name="Oval 135"/>
          <p:cNvSpPr/>
          <p:nvPr/>
        </p:nvSpPr>
        <p:spPr>
          <a:xfrm>
            <a:off x="2704118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7" name="Oval 136"/>
          <p:cNvSpPr/>
          <p:nvPr/>
        </p:nvSpPr>
        <p:spPr>
          <a:xfrm>
            <a:off x="2704118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8" name="Oval 137"/>
          <p:cNvSpPr/>
          <p:nvPr/>
        </p:nvSpPr>
        <p:spPr>
          <a:xfrm>
            <a:off x="2704118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9" name="Oval 138"/>
          <p:cNvSpPr/>
          <p:nvPr/>
        </p:nvSpPr>
        <p:spPr>
          <a:xfrm>
            <a:off x="3255798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0" name="Oval 139"/>
          <p:cNvSpPr/>
          <p:nvPr/>
        </p:nvSpPr>
        <p:spPr>
          <a:xfrm>
            <a:off x="3255798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1" name="Oval 140"/>
          <p:cNvSpPr/>
          <p:nvPr/>
        </p:nvSpPr>
        <p:spPr>
          <a:xfrm>
            <a:off x="3255798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2" name="Oval 141"/>
          <p:cNvSpPr/>
          <p:nvPr/>
        </p:nvSpPr>
        <p:spPr>
          <a:xfrm>
            <a:off x="3255798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3" name="Oval 142"/>
          <p:cNvSpPr/>
          <p:nvPr/>
        </p:nvSpPr>
        <p:spPr>
          <a:xfrm>
            <a:off x="2132131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4" name="Oval 143"/>
          <p:cNvSpPr/>
          <p:nvPr/>
        </p:nvSpPr>
        <p:spPr>
          <a:xfrm>
            <a:off x="2704118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5" name="Oval 144"/>
          <p:cNvSpPr/>
          <p:nvPr/>
        </p:nvSpPr>
        <p:spPr>
          <a:xfrm>
            <a:off x="3255798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6" name="Oval 145"/>
          <p:cNvSpPr/>
          <p:nvPr/>
        </p:nvSpPr>
        <p:spPr>
          <a:xfrm>
            <a:off x="2324223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7" name="Oval 146"/>
          <p:cNvSpPr/>
          <p:nvPr/>
        </p:nvSpPr>
        <p:spPr>
          <a:xfrm>
            <a:off x="2454797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8" name="Oval 147"/>
          <p:cNvSpPr/>
          <p:nvPr/>
        </p:nvSpPr>
        <p:spPr>
          <a:xfrm>
            <a:off x="2324223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9" name="Oval 148"/>
          <p:cNvSpPr/>
          <p:nvPr/>
        </p:nvSpPr>
        <p:spPr>
          <a:xfrm>
            <a:off x="2454797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0" name="Oval 149"/>
          <p:cNvSpPr/>
          <p:nvPr/>
        </p:nvSpPr>
        <p:spPr>
          <a:xfrm>
            <a:off x="2324223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1" name="Oval 150"/>
          <p:cNvSpPr/>
          <p:nvPr/>
        </p:nvSpPr>
        <p:spPr>
          <a:xfrm>
            <a:off x="2454797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2" name="Oval 151"/>
          <p:cNvSpPr/>
          <p:nvPr/>
        </p:nvSpPr>
        <p:spPr>
          <a:xfrm>
            <a:off x="2324223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3" name="Oval 152"/>
          <p:cNvSpPr/>
          <p:nvPr/>
        </p:nvSpPr>
        <p:spPr>
          <a:xfrm>
            <a:off x="2454797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4" name="Oval 153"/>
          <p:cNvSpPr/>
          <p:nvPr/>
        </p:nvSpPr>
        <p:spPr>
          <a:xfrm>
            <a:off x="2324223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5" name="Oval 154"/>
          <p:cNvSpPr/>
          <p:nvPr/>
        </p:nvSpPr>
        <p:spPr>
          <a:xfrm>
            <a:off x="2454797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6" name="Oval 155"/>
          <p:cNvSpPr/>
          <p:nvPr/>
        </p:nvSpPr>
        <p:spPr>
          <a:xfrm>
            <a:off x="2324223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7" name="Oval 156"/>
          <p:cNvSpPr/>
          <p:nvPr/>
        </p:nvSpPr>
        <p:spPr>
          <a:xfrm>
            <a:off x="2454797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8" name="Oval 157"/>
          <p:cNvSpPr/>
          <p:nvPr/>
        </p:nvSpPr>
        <p:spPr>
          <a:xfrm>
            <a:off x="2892553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9" name="Oval 158"/>
          <p:cNvSpPr/>
          <p:nvPr/>
        </p:nvSpPr>
        <p:spPr>
          <a:xfrm>
            <a:off x="3023127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0" name="Oval 159"/>
          <p:cNvSpPr/>
          <p:nvPr/>
        </p:nvSpPr>
        <p:spPr>
          <a:xfrm>
            <a:off x="2892553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1" name="Oval 160"/>
          <p:cNvSpPr/>
          <p:nvPr/>
        </p:nvSpPr>
        <p:spPr>
          <a:xfrm>
            <a:off x="3023127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2" name="Oval 161"/>
          <p:cNvSpPr/>
          <p:nvPr/>
        </p:nvSpPr>
        <p:spPr>
          <a:xfrm>
            <a:off x="2892553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3" name="Oval 162"/>
          <p:cNvSpPr/>
          <p:nvPr/>
        </p:nvSpPr>
        <p:spPr>
          <a:xfrm>
            <a:off x="3023127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4" name="Oval 163"/>
          <p:cNvSpPr/>
          <p:nvPr/>
        </p:nvSpPr>
        <p:spPr>
          <a:xfrm>
            <a:off x="2892553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5" name="Oval 164"/>
          <p:cNvSpPr/>
          <p:nvPr/>
        </p:nvSpPr>
        <p:spPr>
          <a:xfrm>
            <a:off x="3023127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6" name="Oval 165"/>
          <p:cNvSpPr/>
          <p:nvPr/>
        </p:nvSpPr>
        <p:spPr>
          <a:xfrm>
            <a:off x="2892553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7" name="Oval 166"/>
          <p:cNvSpPr/>
          <p:nvPr/>
        </p:nvSpPr>
        <p:spPr>
          <a:xfrm>
            <a:off x="3023127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8" name="Oval 167"/>
          <p:cNvSpPr/>
          <p:nvPr/>
        </p:nvSpPr>
        <p:spPr>
          <a:xfrm>
            <a:off x="2892553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9" name="Oval 168"/>
          <p:cNvSpPr/>
          <p:nvPr/>
        </p:nvSpPr>
        <p:spPr>
          <a:xfrm>
            <a:off x="3023127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0" name="Oval 169"/>
          <p:cNvSpPr/>
          <p:nvPr/>
        </p:nvSpPr>
        <p:spPr>
          <a:xfrm>
            <a:off x="3464812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1" name="Oval 170"/>
          <p:cNvSpPr/>
          <p:nvPr/>
        </p:nvSpPr>
        <p:spPr>
          <a:xfrm>
            <a:off x="3595386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2" name="Oval 171"/>
          <p:cNvSpPr/>
          <p:nvPr/>
        </p:nvSpPr>
        <p:spPr>
          <a:xfrm>
            <a:off x="3464812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3" name="Oval 172"/>
          <p:cNvSpPr/>
          <p:nvPr/>
        </p:nvSpPr>
        <p:spPr>
          <a:xfrm>
            <a:off x="3595386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4" name="Oval 173"/>
          <p:cNvSpPr/>
          <p:nvPr/>
        </p:nvSpPr>
        <p:spPr>
          <a:xfrm>
            <a:off x="3464812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5" name="Oval 174"/>
          <p:cNvSpPr/>
          <p:nvPr/>
        </p:nvSpPr>
        <p:spPr>
          <a:xfrm>
            <a:off x="3595386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6" name="Oval 175"/>
          <p:cNvSpPr/>
          <p:nvPr/>
        </p:nvSpPr>
        <p:spPr>
          <a:xfrm>
            <a:off x="3464812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7" name="Oval 176"/>
          <p:cNvSpPr/>
          <p:nvPr/>
        </p:nvSpPr>
        <p:spPr>
          <a:xfrm>
            <a:off x="3595386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8" name="Oval 177"/>
          <p:cNvSpPr/>
          <p:nvPr/>
        </p:nvSpPr>
        <p:spPr>
          <a:xfrm>
            <a:off x="3464812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9" name="Oval 178"/>
          <p:cNvSpPr/>
          <p:nvPr/>
        </p:nvSpPr>
        <p:spPr>
          <a:xfrm>
            <a:off x="3595386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0" name="Oval 179"/>
          <p:cNvSpPr/>
          <p:nvPr/>
        </p:nvSpPr>
        <p:spPr>
          <a:xfrm>
            <a:off x="3782944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1" name="Oval 180"/>
          <p:cNvSpPr/>
          <p:nvPr/>
        </p:nvSpPr>
        <p:spPr>
          <a:xfrm>
            <a:off x="3782944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2" name="Oval 181"/>
          <p:cNvSpPr/>
          <p:nvPr/>
        </p:nvSpPr>
        <p:spPr>
          <a:xfrm>
            <a:off x="3782944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3" name="Oval 182"/>
          <p:cNvSpPr/>
          <p:nvPr/>
        </p:nvSpPr>
        <p:spPr>
          <a:xfrm>
            <a:off x="3782944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4" name="Oval 183"/>
          <p:cNvSpPr/>
          <p:nvPr/>
        </p:nvSpPr>
        <p:spPr>
          <a:xfrm>
            <a:off x="3782944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5" name="Oval 184"/>
          <p:cNvSpPr/>
          <p:nvPr/>
        </p:nvSpPr>
        <p:spPr>
          <a:xfrm>
            <a:off x="3782944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6" name="Oval 185"/>
          <p:cNvSpPr/>
          <p:nvPr/>
        </p:nvSpPr>
        <p:spPr>
          <a:xfrm>
            <a:off x="3782944" y="477203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7" name="Oval 186"/>
          <p:cNvSpPr/>
          <p:nvPr/>
        </p:nvSpPr>
        <p:spPr>
          <a:xfrm>
            <a:off x="4354931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8" name="Oval 187"/>
          <p:cNvSpPr/>
          <p:nvPr/>
        </p:nvSpPr>
        <p:spPr>
          <a:xfrm>
            <a:off x="4354931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9" name="Oval 188"/>
          <p:cNvSpPr/>
          <p:nvPr/>
        </p:nvSpPr>
        <p:spPr>
          <a:xfrm>
            <a:off x="4354931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0" name="Oval 189"/>
          <p:cNvSpPr/>
          <p:nvPr/>
        </p:nvSpPr>
        <p:spPr>
          <a:xfrm>
            <a:off x="4354931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1" name="Oval 190"/>
          <p:cNvSpPr/>
          <p:nvPr/>
        </p:nvSpPr>
        <p:spPr>
          <a:xfrm>
            <a:off x="4354931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2" name="Oval 191"/>
          <p:cNvSpPr/>
          <p:nvPr/>
        </p:nvSpPr>
        <p:spPr>
          <a:xfrm>
            <a:off x="4354931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3" name="Oval 192"/>
          <p:cNvSpPr/>
          <p:nvPr/>
        </p:nvSpPr>
        <p:spPr>
          <a:xfrm>
            <a:off x="4906611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4" name="Oval 193"/>
          <p:cNvSpPr/>
          <p:nvPr/>
        </p:nvSpPr>
        <p:spPr>
          <a:xfrm>
            <a:off x="4906611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5" name="Oval 194"/>
          <p:cNvSpPr/>
          <p:nvPr/>
        </p:nvSpPr>
        <p:spPr>
          <a:xfrm>
            <a:off x="4906611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6" name="Oval 195"/>
          <p:cNvSpPr/>
          <p:nvPr/>
        </p:nvSpPr>
        <p:spPr>
          <a:xfrm>
            <a:off x="4906611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7" name="Oval 196"/>
          <p:cNvSpPr/>
          <p:nvPr/>
        </p:nvSpPr>
        <p:spPr>
          <a:xfrm>
            <a:off x="4906611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8" name="Oval 197"/>
          <p:cNvSpPr/>
          <p:nvPr/>
        </p:nvSpPr>
        <p:spPr>
          <a:xfrm>
            <a:off x="4906611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9" name="Oval 198"/>
          <p:cNvSpPr/>
          <p:nvPr/>
        </p:nvSpPr>
        <p:spPr>
          <a:xfrm>
            <a:off x="3782944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0" name="Oval 199"/>
          <p:cNvSpPr/>
          <p:nvPr/>
        </p:nvSpPr>
        <p:spPr>
          <a:xfrm>
            <a:off x="4354931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1" name="Oval 200"/>
          <p:cNvSpPr/>
          <p:nvPr/>
        </p:nvSpPr>
        <p:spPr>
          <a:xfrm>
            <a:off x="4906611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2" name="Oval 201"/>
          <p:cNvSpPr/>
          <p:nvPr/>
        </p:nvSpPr>
        <p:spPr>
          <a:xfrm>
            <a:off x="3975036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3" name="Oval 202"/>
          <p:cNvSpPr/>
          <p:nvPr/>
        </p:nvSpPr>
        <p:spPr>
          <a:xfrm>
            <a:off x="4105610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4" name="Oval 203"/>
          <p:cNvSpPr/>
          <p:nvPr/>
        </p:nvSpPr>
        <p:spPr>
          <a:xfrm>
            <a:off x="3975036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5" name="Oval 204"/>
          <p:cNvSpPr/>
          <p:nvPr/>
        </p:nvSpPr>
        <p:spPr>
          <a:xfrm>
            <a:off x="4105610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6" name="Oval 205"/>
          <p:cNvSpPr/>
          <p:nvPr/>
        </p:nvSpPr>
        <p:spPr>
          <a:xfrm>
            <a:off x="3975036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7" name="Oval 206"/>
          <p:cNvSpPr/>
          <p:nvPr/>
        </p:nvSpPr>
        <p:spPr>
          <a:xfrm>
            <a:off x="4105610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8" name="Oval 207"/>
          <p:cNvSpPr/>
          <p:nvPr/>
        </p:nvSpPr>
        <p:spPr>
          <a:xfrm>
            <a:off x="3975036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09" name="Oval 208"/>
          <p:cNvSpPr/>
          <p:nvPr/>
        </p:nvSpPr>
        <p:spPr>
          <a:xfrm>
            <a:off x="4105610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0" name="Oval 209"/>
          <p:cNvSpPr/>
          <p:nvPr/>
        </p:nvSpPr>
        <p:spPr>
          <a:xfrm>
            <a:off x="3975036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1" name="Oval 210"/>
          <p:cNvSpPr/>
          <p:nvPr/>
        </p:nvSpPr>
        <p:spPr>
          <a:xfrm>
            <a:off x="4105610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2" name="Oval 211"/>
          <p:cNvSpPr/>
          <p:nvPr/>
        </p:nvSpPr>
        <p:spPr>
          <a:xfrm>
            <a:off x="3975036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3" name="Oval 212"/>
          <p:cNvSpPr/>
          <p:nvPr/>
        </p:nvSpPr>
        <p:spPr>
          <a:xfrm>
            <a:off x="4105610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4" name="Oval 213"/>
          <p:cNvSpPr/>
          <p:nvPr/>
        </p:nvSpPr>
        <p:spPr>
          <a:xfrm>
            <a:off x="3975036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5" name="Oval 214"/>
          <p:cNvSpPr/>
          <p:nvPr/>
        </p:nvSpPr>
        <p:spPr>
          <a:xfrm>
            <a:off x="4105610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6" name="Oval 215"/>
          <p:cNvSpPr/>
          <p:nvPr/>
        </p:nvSpPr>
        <p:spPr>
          <a:xfrm>
            <a:off x="3975036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7" name="Oval 216"/>
          <p:cNvSpPr/>
          <p:nvPr/>
        </p:nvSpPr>
        <p:spPr>
          <a:xfrm>
            <a:off x="4105610" y="4792976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8" name="Oval 217"/>
          <p:cNvSpPr/>
          <p:nvPr/>
        </p:nvSpPr>
        <p:spPr>
          <a:xfrm>
            <a:off x="4543366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9" name="Oval 218"/>
          <p:cNvSpPr/>
          <p:nvPr/>
        </p:nvSpPr>
        <p:spPr>
          <a:xfrm>
            <a:off x="4673940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0" name="Oval 219"/>
          <p:cNvSpPr/>
          <p:nvPr/>
        </p:nvSpPr>
        <p:spPr>
          <a:xfrm>
            <a:off x="4543366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1" name="Oval 220"/>
          <p:cNvSpPr/>
          <p:nvPr/>
        </p:nvSpPr>
        <p:spPr>
          <a:xfrm>
            <a:off x="4673940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2" name="Oval 221"/>
          <p:cNvSpPr/>
          <p:nvPr/>
        </p:nvSpPr>
        <p:spPr>
          <a:xfrm>
            <a:off x="4543366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3" name="Oval 222"/>
          <p:cNvSpPr/>
          <p:nvPr/>
        </p:nvSpPr>
        <p:spPr>
          <a:xfrm>
            <a:off x="4673940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4" name="Oval 223"/>
          <p:cNvSpPr/>
          <p:nvPr/>
        </p:nvSpPr>
        <p:spPr>
          <a:xfrm>
            <a:off x="4543366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5" name="Oval 224"/>
          <p:cNvSpPr/>
          <p:nvPr/>
        </p:nvSpPr>
        <p:spPr>
          <a:xfrm>
            <a:off x="4673940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6" name="Oval 225"/>
          <p:cNvSpPr/>
          <p:nvPr/>
        </p:nvSpPr>
        <p:spPr>
          <a:xfrm>
            <a:off x="4543366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7" name="Oval 226"/>
          <p:cNvSpPr/>
          <p:nvPr/>
        </p:nvSpPr>
        <p:spPr>
          <a:xfrm>
            <a:off x="4673940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8" name="Oval 227"/>
          <p:cNvSpPr/>
          <p:nvPr/>
        </p:nvSpPr>
        <p:spPr>
          <a:xfrm>
            <a:off x="4543366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29" name="Oval 228"/>
          <p:cNvSpPr/>
          <p:nvPr/>
        </p:nvSpPr>
        <p:spPr>
          <a:xfrm>
            <a:off x="4673940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0" name="Oval 229"/>
          <p:cNvSpPr/>
          <p:nvPr/>
        </p:nvSpPr>
        <p:spPr>
          <a:xfrm>
            <a:off x="4543366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1" name="Oval 230"/>
          <p:cNvSpPr/>
          <p:nvPr/>
        </p:nvSpPr>
        <p:spPr>
          <a:xfrm>
            <a:off x="4673940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2" name="Oval 231"/>
          <p:cNvSpPr/>
          <p:nvPr/>
        </p:nvSpPr>
        <p:spPr>
          <a:xfrm>
            <a:off x="5115625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3" name="Oval 232"/>
          <p:cNvSpPr/>
          <p:nvPr/>
        </p:nvSpPr>
        <p:spPr>
          <a:xfrm>
            <a:off x="5246199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4" name="Oval 233"/>
          <p:cNvSpPr/>
          <p:nvPr/>
        </p:nvSpPr>
        <p:spPr>
          <a:xfrm>
            <a:off x="5115625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5" name="Oval 234"/>
          <p:cNvSpPr/>
          <p:nvPr/>
        </p:nvSpPr>
        <p:spPr>
          <a:xfrm>
            <a:off x="5246199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6" name="Oval 235"/>
          <p:cNvSpPr/>
          <p:nvPr/>
        </p:nvSpPr>
        <p:spPr>
          <a:xfrm>
            <a:off x="5115625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7" name="Oval 236"/>
          <p:cNvSpPr/>
          <p:nvPr/>
        </p:nvSpPr>
        <p:spPr>
          <a:xfrm>
            <a:off x="5246199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8" name="Oval 237"/>
          <p:cNvSpPr/>
          <p:nvPr/>
        </p:nvSpPr>
        <p:spPr>
          <a:xfrm>
            <a:off x="5115625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39" name="Oval 238"/>
          <p:cNvSpPr/>
          <p:nvPr/>
        </p:nvSpPr>
        <p:spPr>
          <a:xfrm>
            <a:off x="5246199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0" name="Oval 239"/>
          <p:cNvSpPr/>
          <p:nvPr/>
        </p:nvSpPr>
        <p:spPr>
          <a:xfrm>
            <a:off x="5115625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1" name="Oval 240"/>
          <p:cNvSpPr/>
          <p:nvPr/>
        </p:nvSpPr>
        <p:spPr>
          <a:xfrm>
            <a:off x="5246199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2" name="Oval 241"/>
          <p:cNvSpPr/>
          <p:nvPr/>
        </p:nvSpPr>
        <p:spPr>
          <a:xfrm>
            <a:off x="5115625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3" name="Oval 242"/>
          <p:cNvSpPr/>
          <p:nvPr/>
        </p:nvSpPr>
        <p:spPr>
          <a:xfrm>
            <a:off x="5246199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4" name="Oval 243"/>
          <p:cNvSpPr/>
          <p:nvPr/>
        </p:nvSpPr>
        <p:spPr>
          <a:xfrm>
            <a:off x="5115625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5" name="Oval 244"/>
          <p:cNvSpPr/>
          <p:nvPr/>
        </p:nvSpPr>
        <p:spPr>
          <a:xfrm>
            <a:off x="5246199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6" name="Oval 245"/>
          <p:cNvSpPr/>
          <p:nvPr/>
        </p:nvSpPr>
        <p:spPr>
          <a:xfrm>
            <a:off x="5445352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7" name="Oval 246"/>
          <p:cNvSpPr/>
          <p:nvPr/>
        </p:nvSpPr>
        <p:spPr>
          <a:xfrm>
            <a:off x="5445352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8" name="Oval 247"/>
          <p:cNvSpPr/>
          <p:nvPr/>
        </p:nvSpPr>
        <p:spPr>
          <a:xfrm>
            <a:off x="5445352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9" name="Oval 248"/>
          <p:cNvSpPr/>
          <p:nvPr/>
        </p:nvSpPr>
        <p:spPr>
          <a:xfrm>
            <a:off x="5445352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0" name="Oval 249"/>
          <p:cNvSpPr/>
          <p:nvPr/>
        </p:nvSpPr>
        <p:spPr>
          <a:xfrm>
            <a:off x="5445352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1" name="Oval 250"/>
          <p:cNvSpPr/>
          <p:nvPr/>
        </p:nvSpPr>
        <p:spPr>
          <a:xfrm>
            <a:off x="5445352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2" name="Oval 251"/>
          <p:cNvSpPr/>
          <p:nvPr/>
        </p:nvSpPr>
        <p:spPr>
          <a:xfrm>
            <a:off x="6017339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3" name="Oval 252"/>
          <p:cNvSpPr/>
          <p:nvPr/>
        </p:nvSpPr>
        <p:spPr>
          <a:xfrm>
            <a:off x="6017339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4" name="Oval 253"/>
          <p:cNvSpPr/>
          <p:nvPr/>
        </p:nvSpPr>
        <p:spPr>
          <a:xfrm>
            <a:off x="6017339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5" name="Oval 254"/>
          <p:cNvSpPr/>
          <p:nvPr/>
        </p:nvSpPr>
        <p:spPr>
          <a:xfrm>
            <a:off x="6017339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6" name="Oval 255"/>
          <p:cNvSpPr/>
          <p:nvPr/>
        </p:nvSpPr>
        <p:spPr>
          <a:xfrm>
            <a:off x="6017339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7" name="Oval 256"/>
          <p:cNvSpPr/>
          <p:nvPr/>
        </p:nvSpPr>
        <p:spPr>
          <a:xfrm>
            <a:off x="6017339" y="454526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8" name="Oval 257"/>
          <p:cNvSpPr/>
          <p:nvPr/>
        </p:nvSpPr>
        <p:spPr>
          <a:xfrm>
            <a:off x="6569019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59" name="Oval 258"/>
          <p:cNvSpPr/>
          <p:nvPr/>
        </p:nvSpPr>
        <p:spPr>
          <a:xfrm>
            <a:off x="6569019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0" name="Oval 259"/>
          <p:cNvSpPr/>
          <p:nvPr/>
        </p:nvSpPr>
        <p:spPr>
          <a:xfrm>
            <a:off x="6569019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1" name="Oval 260"/>
          <p:cNvSpPr/>
          <p:nvPr/>
        </p:nvSpPr>
        <p:spPr>
          <a:xfrm>
            <a:off x="6569019" y="409172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2" name="Oval 261"/>
          <p:cNvSpPr/>
          <p:nvPr/>
        </p:nvSpPr>
        <p:spPr>
          <a:xfrm>
            <a:off x="6569019" y="431849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3" name="Oval 262"/>
          <p:cNvSpPr/>
          <p:nvPr/>
        </p:nvSpPr>
        <p:spPr>
          <a:xfrm>
            <a:off x="5445352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4" name="Oval 263"/>
          <p:cNvSpPr/>
          <p:nvPr/>
        </p:nvSpPr>
        <p:spPr>
          <a:xfrm>
            <a:off x="6017339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5" name="Oval 264"/>
          <p:cNvSpPr/>
          <p:nvPr/>
        </p:nvSpPr>
        <p:spPr>
          <a:xfrm>
            <a:off x="6569019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6" name="Oval 265"/>
          <p:cNvSpPr/>
          <p:nvPr/>
        </p:nvSpPr>
        <p:spPr>
          <a:xfrm>
            <a:off x="5637444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7" name="Oval 266"/>
          <p:cNvSpPr/>
          <p:nvPr/>
        </p:nvSpPr>
        <p:spPr>
          <a:xfrm>
            <a:off x="5768018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8" name="Oval 267"/>
          <p:cNvSpPr/>
          <p:nvPr/>
        </p:nvSpPr>
        <p:spPr>
          <a:xfrm>
            <a:off x="5637444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9" name="Oval 268"/>
          <p:cNvSpPr/>
          <p:nvPr/>
        </p:nvSpPr>
        <p:spPr>
          <a:xfrm>
            <a:off x="5768018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0" name="Oval 269"/>
          <p:cNvSpPr/>
          <p:nvPr/>
        </p:nvSpPr>
        <p:spPr>
          <a:xfrm>
            <a:off x="5637444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1" name="Oval 270"/>
          <p:cNvSpPr/>
          <p:nvPr/>
        </p:nvSpPr>
        <p:spPr>
          <a:xfrm>
            <a:off x="5768018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2" name="Oval 271"/>
          <p:cNvSpPr/>
          <p:nvPr/>
        </p:nvSpPr>
        <p:spPr>
          <a:xfrm>
            <a:off x="5637444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3" name="Oval 272"/>
          <p:cNvSpPr/>
          <p:nvPr/>
        </p:nvSpPr>
        <p:spPr>
          <a:xfrm>
            <a:off x="5768018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4" name="Oval 273"/>
          <p:cNvSpPr/>
          <p:nvPr/>
        </p:nvSpPr>
        <p:spPr>
          <a:xfrm>
            <a:off x="5637444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5" name="Oval 274"/>
          <p:cNvSpPr/>
          <p:nvPr/>
        </p:nvSpPr>
        <p:spPr>
          <a:xfrm>
            <a:off x="5768018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6" name="Oval 275"/>
          <p:cNvSpPr/>
          <p:nvPr/>
        </p:nvSpPr>
        <p:spPr>
          <a:xfrm>
            <a:off x="5637444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7" name="Oval 276"/>
          <p:cNvSpPr/>
          <p:nvPr/>
        </p:nvSpPr>
        <p:spPr>
          <a:xfrm>
            <a:off x="5768018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8" name="Oval 277"/>
          <p:cNvSpPr/>
          <p:nvPr/>
        </p:nvSpPr>
        <p:spPr>
          <a:xfrm>
            <a:off x="5637444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9" name="Oval 278"/>
          <p:cNvSpPr/>
          <p:nvPr/>
        </p:nvSpPr>
        <p:spPr>
          <a:xfrm>
            <a:off x="5768018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0" name="Oval 279"/>
          <p:cNvSpPr/>
          <p:nvPr/>
        </p:nvSpPr>
        <p:spPr>
          <a:xfrm>
            <a:off x="6205774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1" name="Oval 280"/>
          <p:cNvSpPr/>
          <p:nvPr/>
        </p:nvSpPr>
        <p:spPr>
          <a:xfrm>
            <a:off x="6336348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2" name="Oval 281"/>
          <p:cNvSpPr/>
          <p:nvPr/>
        </p:nvSpPr>
        <p:spPr>
          <a:xfrm>
            <a:off x="6205774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3" name="Oval 282"/>
          <p:cNvSpPr/>
          <p:nvPr/>
        </p:nvSpPr>
        <p:spPr>
          <a:xfrm>
            <a:off x="6336348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4" name="Oval 283"/>
          <p:cNvSpPr/>
          <p:nvPr/>
        </p:nvSpPr>
        <p:spPr>
          <a:xfrm>
            <a:off x="6205774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5" name="Oval 284"/>
          <p:cNvSpPr/>
          <p:nvPr/>
        </p:nvSpPr>
        <p:spPr>
          <a:xfrm>
            <a:off x="6336348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6" name="Oval 285"/>
          <p:cNvSpPr/>
          <p:nvPr/>
        </p:nvSpPr>
        <p:spPr>
          <a:xfrm>
            <a:off x="6205774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7" name="Oval 286"/>
          <p:cNvSpPr/>
          <p:nvPr/>
        </p:nvSpPr>
        <p:spPr>
          <a:xfrm>
            <a:off x="6336348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8" name="Oval 287"/>
          <p:cNvSpPr/>
          <p:nvPr/>
        </p:nvSpPr>
        <p:spPr>
          <a:xfrm>
            <a:off x="6205774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9" name="Oval 288"/>
          <p:cNvSpPr/>
          <p:nvPr/>
        </p:nvSpPr>
        <p:spPr>
          <a:xfrm>
            <a:off x="6336348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0" name="Oval 289"/>
          <p:cNvSpPr/>
          <p:nvPr/>
        </p:nvSpPr>
        <p:spPr>
          <a:xfrm>
            <a:off x="6205774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1" name="Oval 290"/>
          <p:cNvSpPr/>
          <p:nvPr/>
        </p:nvSpPr>
        <p:spPr>
          <a:xfrm>
            <a:off x="6336348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2" name="Oval 291"/>
          <p:cNvSpPr/>
          <p:nvPr/>
        </p:nvSpPr>
        <p:spPr>
          <a:xfrm>
            <a:off x="6205774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3" name="Oval 292"/>
          <p:cNvSpPr/>
          <p:nvPr/>
        </p:nvSpPr>
        <p:spPr>
          <a:xfrm>
            <a:off x="6336348" y="4576245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4" name="Oval 293"/>
          <p:cNvSpPr/>
          <p:nvPr/>
        </p:nvSpPr>
        <p:spPr>
          <a:xfrm>
            <a:off x="6778033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5" name="Oval 294"/>
          <p:cNvSpPr/>
          <p:nvPr/>
        </p:nvSpPr>
        <p:spPr>
          <a:xfrm>
            <a:off x="6908607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6" name="Oval 295"/>
          <p:cNvSpPr/>
          <p:nvPr/>
        </p:nvSpPr>
        <p:spPr>
          <a:xfrm>
            <a:off x="6778033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7" name="Oval 296"/>
          <p:cNvSpPr/>
          <p:nvPr/>
        </p:nvSpPr>
        <p:spPr>
          <a:xfrm>
            <a:off x="6908607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8" name="Oval 297"/>
          <p:cNvSpPr/>
          <p:nvPr/>
        </p:nvSpPr>
        <p:spPr>
          <a:xfrm>
            <a:off x="6778033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99" name="Oval 298"/>
          <p:cNvSpPr/>
          <p:nvPr/>
        </p:nvSpPr>
        <p:spPr>
          <a:xfrm>
            <a:off x="6908607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0" name="Oval 299"/>
          <p:cNvSpPr/>
          <p:nvPr/>
        </p:nvSpPr>
        <p:spPr>
          <a:xfrm>
            <a:off x="6778033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1" name="Oval 300"/>
          <p:cNvSpPr/>
          <p:nvPr/>
        </p:nvSpPr>
        <p:spPr>
          <a:xfrm>
            <a:off x="6908607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2" name="Oval 301"/>
          <p:cNvSpPr/>
          <p:nvPr/>
        </p:nvSpPr>
        <p:spPr>
          <a:xfrm>
            <a:off x="6778033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3" name="Oval 302"/>
          <p:cNvSpPr/>
          <p:nvPr/>
        </p:nvSpPr>
        <p:spPr>
          <a:xfrm>
            <a:off x="6908607" y="411447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4" name="Oval 303"/>
          <p:cNvSpPr/>
          <p:nvPr/>
        </p:nvSpPr>
        <p:spPr>
          <a:xfrm>
            <a:off x="6778033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5" name="Oval 304"/>
          <p:cNvSpPr/>
          <p:nvPr/>
        </p:nvSpPr>
        <p:spPr>
          <a:xfrm>
            <a:off x="6908607" y="433720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6" name="Oval 305"/>
          <p:cNvSpPr/>
          <p:nvPr/>
        </p:nvSpPr>
        <p:spPr>
          <a:xfrm>
            <a:off x="7086603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7" name="Oval 306"/>
          <p:cNvSpPr/>
          <p:nvPr/>
        </p:nvSpPr>
        <p:spPr>
          <a:xfrm>
            <a:off x="7086603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8" name="Oval 307"/>
          <p:cNvSpPr/>
          <p:nvPr/>
        </p:nvSpPr>
        <p:spPr>
          <a:xfrm>
            <a:off x="7086603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9" name="Oval 308"/>
          <p:cNvSpPr/>
          <p:nvPr/>
        </p:nvSpPr>
        <p:spPr>
          <a:xfrm>
            <a:off x="7658590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0" name="Oval 309"/>
          <p:cNvSpPr/>
          <p:nvPr/>
        </p:nvSpPr>
        <p:spPr>
          <a:xfrm>
            <a:off x="7658590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1" name="Oval 310"/>
          <p:cNvSpPr/>
          <p:nvPr/>
        </p:nvSpPr>
        <p:spPr>
          <a:xfrm>
            <a:off x="7658590" y="386496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2" name="Oval 311"/>
          <p:cNvSpPr/>
          <p:nvPr/>
        </p:nvSpPr>
        <p:spPr>
          <a:xfrm>
            <a:off x="8210270" y="341142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3" name="Oval 312"/>
          <p:cNvSpPr/>
          <p:nvPr/>
        </p:nvSpPr>
        <p:spPr>
          <a:xfrm>
            <a:off x="8210270" y="3638192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4" name="Oval 313"/>
          <p:cNvSpPr/>
          <p:nvPr/>
        </p:nvSpPr>
        <p:spPr>
          <a:xfrm>
            <a:off x="7086603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5" name="Oval 314"/>
          <p:cNvSpPr/>
          <p:nvPr/>
        </p:nvSpPr>
        <p:spPr>
          <a:xfrm>
            <a:off x="7658590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6" name="Oval 315"/>
          <p:cNvSpPr/>
          <p:nvPr/>
        </p:nvSpPr>
        <p:spPr>
          <a:xfrm>
            <a:off x="8210270" y="318465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7" name="Oval 316"/>
          <p:cNvSpPr/>
          <p:nvPr/>
        </p:nvSpPr>
        <p:spPr>
          <a:xfrm>
            <a:off x="7278695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8" name="Oval 317"/>
          <p:cNvSpPr/>
          <p:nvPr/>
        </p:nvSpPr>
        <p:spPr>
          <a:xfrm>
            <a:off x="7409269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19" name="Oval 318"/>
          <p:cNvSpPr/>
          <p:nvPr/>
        </p:nvSpPr>
        <p:spPr>
          <a:xfrm>
            <a:off x="7278695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0" name="Oval 319"/>
          <p:cNvSpPr/>
          <p:nvPr/>
        </p:nvSpPr>
        <p:spPr>
          <a:xfrm>
            <a:off x="7409269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1" name="Oval 320"/>
          <p:cNvSpPr/>
          <p:nvPr/>
        </p:nvSpPr>
        <p:spPr>
          <a:xfrm>
            <a:off x="7278695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2" name="Oval 321"/>
          <p:cNvSpPr/>
          <p:nvPr/>
        </p:nvSpPr>
        <p:spPr>
          <a:xfrm>
            <a:off x="7409269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3" name="Oval 322"/>
          <p:cNvSpPr/>
          <p:nvPr/>
        </p:nvSpPr>
        <p:spPr>
          <a:xfrm>
            <a:off x="7278695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4" name="Oval 323"/>
          <p:cNvSpPr/>
          <p:nvPr/>
        </p:nvSpPr>
        <p:spPr>
          <a:xfrm>
            <a:off x="7409269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5" name="Oval 324"/>
          <p:cNvSpPr/>
          <p:nvPr/>
        </p:nvSpPr>
        <p:spPr>
          <a:xfrm>
            <a:off x="7847025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6" name="Oval 325"/>
          <p:cNvSpPr/>
          <p:nvPr/>
        </p:nvSpPr>
        <p:spPr>
          <a:xfrm>
            <a:off x="7977599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7" name="Oval 326"/>
          <p:cNvSpPr/>
          <p:nvPr/>
        </p:nvSpPr>
        <p:spPr>
          <a:xfrm>
            <a:off x="7847025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8" name="Oval 327"/>
          <p:cNvSpPr/>
          <p:nvPr/>
        </p:nvSpPr>
        <p:spPr>
          <a:xfrm>
            <a:off x="7977599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9" name="Oval 328"/>
          <p:cNvSpPr/>
          <p:nvPr/>
        </p:nvSpPr>
        <p:spPr>
          <a:xfrm>
            <a:off x="7847025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0" name="Oval 329"/>
          <p:cNvSpPr/>
          <p:nvPr/>
        </p:nvSpPr>
        <p:spPr>
          <a:xfrm>
            <a:off x="7977599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1" name="Oval 330"/>
          <p:cNvSpPr/>
          <p:nvPr/>
        </p:nvSpPr>
        <p:spPr>
          <a:xfrm>
            <a:off x="7847025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2" name="Oval 331"/>
          <p:cNvSpPr/>
          <p:nvPr/>
        </p:nvSpPr>
        <p:spPr>
          <a:xfrm>
            <a:off x="7977599" y="3885904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3" name="Oval 332"/>
          <p:cNvSpPr/>
          <p:nvPr/>
        </p:nvSpPr>
        <p:spPr>
          <a:xfrm>
            <a:off x="8419284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4" name="Oval 333"/>
          <p:cNvSpPr/>
          <p:nvPr/>
        </p:nvSpPr>
        <p:spPr>
          <a:xfrm>
            <a:off x="8549858" y="3217330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5" name="Oval 334"/>
          <p:cNvSpPr/>
          <p:nvPr/>
        </p:nvSpPr>
        <p:spPr>
          <a:xfrm>
            <a:off x="8419284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6" name="Oval 335"/>
          <p:cNvSpPr/>
          <p:nvPr/>
        </p:nvSpPr>
        <p:spPr>
          <a:xfrm>
            <a:off x="8549858" y="3437708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7" name="Oval 336"/>
          <p:cNvSpPr/>
          <p:nvPr/>
        </p:nvSpPr>
        <p:spPr>
          <a:xfrm>
            <a:off x="8419284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8" name="Oval 337"/>
          <p:cNvSpPr/>
          <p:nvPr/>
        </p:nvSpPr>
        <p:spPr>
          <a:xfrm>
            <a:off x="8549858" y="3663492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39" name="Oval 338"/>
          <p:cNvSpPr/>
          <p:nvPr/>
        </p:nvSpPr>
        <p:spPr>
          <a:xfrm>
            <a:off x="3710936" y="607154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0" name="Oval 339"/>
          <p:cNvSpPr/>
          <p:nvPr/>
        </p:nvSpPr>
        <p:spPr>
          <a:xfrm>
            <a:off x="3736781" y="6305133"/>
            <a:ext cx="72008" cy="78668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41" name="TextBox 340"/>
          <p:cNvSpPr txBox="1"/>
          <p:nvPr/>
        </p:nvSpPr>
        <p:spPr>
          <a:xfrm>
            <a:off x="3808789" y="6195111"/>
            <a:ext cx="27674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Kommunal Superbruger</a:t>
            </a:r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264174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2615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Landsorganisering af implementeringsansvaret 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18. februar 2014            </a:t>
            </a:r>
            <a:r>
              <a:rPr lang="da-DK" dirty="0" err="1" smtClean="0"/>
              <a:t>Praksys</a:t>
            </a:r>
            <a:endParaRPr lang="da-DK" dirty="0"/>
          </a:p>
        </p:txBody>
      </p:sp>
      <p:grpSp>
        <p:nvGrpSpPr>
          <p:cNvPr id="24" name="Gruppe 23"/>
          <p:cNvGrpSpPr/>
          <p:nvPr/>
        </p:nvGrpSpPr>
        <p:grpSpPr>
          <a:xfrm>
            <a:off x="459877" y="1330173"/>
            <a:ext cx="8010240" cy="4570105"/>
            <a:chOff x="459877" y="1330173"/>
            <a:chExt cx="8010240" cy="457010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877" y="1330173"/>
              <a:ext cx="1848581" cy="2218298"/>
            </a:xfrm>
            <a:prstGeom prst="rect">
              <a:avLst/>
            </a:prstGeom>
          </p:spPr>
        </p:pic>
        <p:sp>
          <p:nvSpPr>
            <p:cNvPr id="6" name="Rektangel 5"/>
            <p:cNvSpPr/>
            <p:nvPr/>
          </p:nvSpPr>
          <p:spPr>
            <a:xfrm>
              <a:off x="3924344" y="1330173"/>
              <a:ext cx="1295728" cy="62178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100" dirty="0" smtClean="0"/>
                <a:t>Regional </a:t>
              </a:r>
              <a:r>
                <a:rPr lang="da-DK" sz="1100" dirty="0" smtClean="0"/>
                <a:t>implementerings-</a:t>
              </a:r>
              <a:endParaRPr lang="da-DK" sz="1100" dirty="0" smtClean="0"/>
            </a:p>
            <a:p>
              <a:pPr algn="ctr"/>
              <a:r>
                <a:rPr lang="da-DK" sz="1100" dirty="0"/>
                <a:t>a</a:t>
              </a:r>
              <a:r>
                <a:rPr lang="da-DK" sz="1100" dirty="0" smtClean="0"/>
                <a:t>nsvarlig </a:t>
              </a:r>
              <a:r>
                <a:rPr lang="da-DK" sz="1100" dirty="0" smtClean="0"/>
                <a:t>for Region Nord</a:t>
              </a:r>
              <a:endParaRPr lang="da-DK" sz="1100" dirty="0"/>
            </a:p>
          </p:txBody>
        </p:sp>
        <p:sp>
          <p:nvSpPr>
            <p:cNvPr id="7" name="Rektangel 6"/>
            <p:cNvSpPr/>
            <p:nvPr/>
          </p:nvSpPr>
          <p:spPr>
            <a:xfrm>
              <a:off x="3924344" y="2119837"/>
              <a:ext cx="1295728" cy="62178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da-DK" sz="1100" dirty="0" smtClean="0">
                  <a:solidFill>
                    <a:prstClr val="white"/>
                  </a:solidFill>
                </a:rPr>
                <a:t>Regional implementerings-</a:t>
              </a:r>
              <a:endParaRPr lang="da-DK" sz="1100" dirty="0">
                <a:solidFill>
                  <a:prstClr val="white"/>
                </a:solidFill>
              </a:endParaRPr>
            </a:p>
            <a:p>
              <a:pPr lvl="0" algn="ctr"/>
              <a:r>
                <a:rPr lang="da-DK" sz="1100" dirty="0">
                  <a:solidFill>
                    <a:prstClr val="white"/>
                  </a:solidFill>
                </a:rPr>
                <a:t>a</a:t>
              </a:r>
              <a:r>
                <a:rPr lang="da-DK" sz="1100" dirty="0" smtClean="0">
                  <a:solidFill>
                    <a:prstClr val="white"/>
                  </a:solidFill>
                </a:rPr>
                <a:t>nsvarlig for Region Midt</a:t>
              </a:r>
              <a:endParaRPr lang="da-DK" sz="1100" dirty="0">
                <a:solidFill>
                  <a:prstClr val="white"/>
                </a:solidFill>
              </a:endParaRPr>
            </a:p>
          </p:txBody>
        </p:sp>
        <p:sp>
          <p:nvSpPr>
            <p:cNvPr id="8" name="Rektangel 7"/>
            <p:cNvSpPr/>
            <p:nvPr/>
          </p:nvSpPr>
          <p:spPr>
            <a:xfrm>
              <a:off x="3924344" y="3699165"/>
              <a:ext cx="1295728" cy="62178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da-DK" sz="1100" dirty="0" smtClean="0">
                  <a:solidFill>
                    <a:prstClr val="white"/>
                  </a:solidFill>
                </a:rPr>
                <a:t>Regional implementerings-</a:t>
              </a:r>
              <a:endParaRPr lang="da-DK" sz="1100" dirty="0">
                <a:solidFill>
                  <a:prstClr val="white"/>
                </a:solidFill>
              </a:endParaRPr>
            </a:p>
            <a:p>
              <a:pPr lvl="0" algn="ctr"/>
              <a:r>
                <a:rPr lang="da-DK" sz="1100" dirty="0">
                  <a:solidFill>
                    <a:prstClr val="white"/>
                  </a:solidFill>
                </a:rPr>
                <a:t>a</a:t>
              </a:r>
              <a:r>
                <a:rPr lang="da-DK" sz="1100" dirty="0" smtClean="0">
                  <a:solidFill>
                    <a:prstClr val="white"/>
                  </a:solidFill>
                </a:rPr>
                <a:t>nsvarlig Region Sjælland</a:t>
              </a:r>
              <a:endParaRPr lang="da-DK" sz="1100" dirty="0">
                <a:solidFill>
                  <a:prstClr val="white"/>
                </a:solidFill>
              </a:endParaRPr>
            </a:p>
          </p:txBody>
        </p:sp>
        <p:sp>
          <p:nvSpPr>
            <p:cNvPr id="9" name="Rektangel 8"/>
            <p:cNvSpPr/>
            <p:nvPr/>
          </p:nvSpPr>
          <p:spPr>
            <a:xfrm>
              <a:off x="3924344" y="2909499"/>
              <a:ext cx="1295728" cy="6389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da-DK" sz="1100" dirty="0" smtClean="0">
                  <a:solidFill>
                    <a:prstClr val="white"/>
                  </a:solidFill>
                </a:rPr>
                <a:t>Regional implementerings-</a:t>
              </a:r>
              <a:endParaRPr lang="da-DK" sz="1100" dirty="0">
                <a:solidFill>
                  <a:prstClr val="white"/>
                </a:solidFill>
              </a:endParaRPr>
            </a:p>
            <a:p>
              <a:pPr lvl="0" algn="ctr"/>
              <a:r>
                <a:rPr lang="da-DK" sz="1100" dirty="0">
                  <a:solidFill>
                    <a:prstClr val="white"/>
                  </a:solidFill>
                </a:rPr>
                <a:t>a</a:t>
              </a:r>
              <a:r>
                <a:rPr lang="da-DK" sz="1100" dirty="0" smtClean="0">
                  <a:solidFill>
                    <a:prstClr val="white"/>
                  </a:solidFill>
                </a:rPr>
                <a:t>nsvarlig for Region H</a:t>
              </a:r>
              <a:endParaRPr lang="da-DK" sz="1100" dirty="0">
                <a:solidFill>
                  <a:prstClr val="white"/>
                </a:solidFill>
              </a:endParaRPr>
            </a:p>
          </p:txBody>
        </p:sp>
        <p:sp>
          <p:nvSpPr>
            <p:cNvPr id="10" name="Rektangel 9"/>
            <p:cNvSpPr/>
            <p:nvPr/>
          </p:nvSpPr>
          <p:spPr>
            <a:xfrm>
              <a:off x="3924344" y="5278495"/>
              <a:ext cx="1295728" cy="62178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100" dirty="0" smtClean="0"/>
                <a:t>Overordnet implementerings-ansvarlig </a:t>
              </a:r>
              <a:r>
                <a:rPr lang="da-DK" sz="1100" dirty="0"/>
                <a:t>for kommunerne</a:t>
              </a:r>
            </a:p>
          </p:txBody>
        </p:sp>
        <p:cxnSp>
          <p:nvCxnSpPr>
            <p:cNvPr id="13" name="Lige pilforbindelse 12"/>
            <p:cNvCxnSpPr>
              <a:endCxn id="6" idx="1"/>
            </p:cNvCxnSpPr>
            <p:nvPr/>
          </p:nvCxnSpPr>
          <p:spPr>
            <a:xfrm flipV="1">
              <a:off x="1295844" y="1641065"/>
              <a:ext cx="2628500" cy="15069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Lige pilforbindelse 14"/>
            <p:cNvCxnSpPr>
              <a:endCxn id="7" idx="1"/>
            </p:cNvCxnSpPr>
            <p:nvPr/>
          </p:nvCxnSpPr>
          <p:spPr>
            <a:xfrm>
              <a:off x="1043608" y="2171811"/>
              <a:ext cx="2880736" cy="25891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Lige pilforbindelse 17"/>
            <p:cNvCxnSpPr>
              <a:stCxn id="3" idx="3"/>
              <a:endCxn id="10" idx="1"/>
            </p:cNvCxnSpPr>
            <p:nvPr/>
          </p:nvCxnSpPr>
          <p:spPr>
            <a:xfrm>
              <a:off x="2308458" y="4808307"/>
              <a:ext cx="1615886" cy="78108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Lige pilforbindelse 19"/>
            <p:cNvCxnSpPr>
              <a:endCxn id="8" idx="1"/>
            </p:cNvCxnSpPr>
            <p:nvPr/>
          </p:nvCxnSpPr>
          <p:spPr>
            <a:xfrm>
              <a:off x="1835696" y="2961475"/>
              <a:ext cx="2088648" cy="104858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Lige pilforbindelse 21"/>
            <p:cNvCxnSpPr>
              <a:endCxn id="9" idx="1"/>
            </p:cNvCxnSpPr>
            <p:nvPr/>
          </p:nvCxnSpPr>
          <p:spPr>
            <a:xfrm>
              <a:off x="2104323" y="2593479"/>
              <a:ext cx="1820021" cy="63550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Billede 2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15800" y="2006217"/>
              <a:ext cx="1762125" cy="1943100"/>
            </a:xfrm>
            <a:prstGeom prst="rect">
              <a:avLst/>
            </a:prstGeom>
          </p:spPr>
        </p:pic>
        <p:cxnSp>
          <p:nvCxnSpPr>
            <p:cNvPr id="27" name="Lige pilforbindelse 26"/>
            <p:cNvCxnSpPr>
              <a:stCxn id="6" idx="3"/>
              <a:endCxn id="25" idx="1"/>
            </p:cNvCxnSpPr>
            <p:nvPr/>
          </p:nvCxnSpPr>
          <p:spPr>
            <a:xfrm>
              <a:off x="5220072" y="1641065"/>
              <a:ext cx="1295728" cy="133670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Lige pilforbindelse 28"/>
            <p:cNvCxnSpPr>
              <a:stCxn id="7" idx="3"/>
              <a:endCxn id="25" idx="1"/>
            </p:cNvCxnSpPr>
            <p:nvPr/>
          </p:nvCxnSpPr>
          <p:spPr>
            <a:xfrm>
              <a:off x="5220072" y="2430729"/>
              <a:ext cx="1295728" cy="54703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Lige pilforbindelse 30"/>
            <p:cNvCxnSpPr>
              <a:stCxn id="9" idx="3"/>
              <a:endCxn id="25" idx="1"/>
            </p:cNvCxnSpPr>
            <p:nvPr/>
          </p:nvCxnSpPr>
          <p:spPr>
            <a:xfrm flipV="1">
              <a:off x="5220072" y="2977767"/>
              <a:ext cx="1295728" cy="25121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Lige pilforbindelse 32"/>
            <p:cNvCxnSpPr>
              <a:stCxn id="8" idx="3"/>
              <a:endCxn id="25" idx="1"/>
            </p:cNvCxnSpPr>
            <p:nvPr/>
          </p:nvCxnSpPr>
          <p:spPr>
            <a:xfrm flipV="1">
              <a:off x="5220072" y="2977767"/>
              <a:ext cx="1295728" cy="103229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Lige pilforbindelse 34"/>
            <p:cNvCxnSpPr>
              <a:stCxn id="10" idx="3"/>
              <a:endCxn id="25" idx="1"/>
            </p:cNvCxnSpPr>
            <p:nvPr/>
          </p:nvCxnSpPr>
          <p:spPr>
            <a:xfrm flipV="1">
              <a:off x="5220072" y="2977767"/>
              <a:ext cx="1295728" cy="261162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kstfelt 35"/>
            <p:cNvSpPr txBox="1"/>
            <p:nvPr/>
          </p:nvSpPr>
          <p:spPr>
            <a:xfrm>
              <a:off x="6515800" y="3949317"/>
              <a:ext cx="195431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dirty="0" smtClean="0"/>
                <a:t>Delprojektleder for transition</a:t>
              </a:r>
              <a:endParaRPr lang="da-DK" dirty="0"/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877" y="3716335"/>
              <a:ext cx="1848581" cy="2183943"/>
            </a:xfrm>
            <a:prstGeom prst="rect">
              <a:avLst/>
            </a:prstGeom>
          </p:spPr>
        </p:pic>
        <p:sp>
          <p:nvSpPr>
            <p:cNvPr id="38" name="Rektangel 7"/>
            <p:cNvSpPr/>
            <p:nvPr/>
          </p:nvSpPr>
          <p:spPr>
            <a:xfrm>
              <a:off x="3924344" y="4488829"/>
              <a:ext cx="1295728" cy="62178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da-DK" sz="1100" dirty="0" smtClean="0">
                  <a:solidFill>
                    <a:prstClr val="white"/>
                  </a:solidFill>
                </a:rPr>
                <a:t>Regional implementerings-</a:t>
              </a:r>
              <a:endParaRPr lang="da-DK" sz="1100" dirty="0">
                <a:solidFill>
                  <a:prstClr val="white"/>
                </a:solidFill>
              </a:endParaRPr>
            </a:p>
            <a:p>
              <a:pPr lvl="0" algn="ctr"/>
              <a:r>
                <a:rPr lang="da-DK" sz="1100" dirty="0">
                  <a:solidFill>
                    <a:prstClr val="white"/>
                  </a:solidFill>
                </a:rPr>
                <a:t>a</a:t>
              </a:r>
              <a:r>
                <a:rPr lang="da-DK" sz="1100" smtClean="0">
                  <a:solidFill>
                    <a:prstClr val="white"/>
                  </a:solidFill>
                </a:rPr>
                <a:t>nsvarlig </a:t>
              </a:r>
              <a:r>
                <a:rPr lang="da-DK" sz="1100" dirty="0" smtClean="0">
                  <a:solidFill>
                    <a:prstClr val="white"/>
                  </a:solidFill>
                </a:rPr>
                <a:t>Region Syd</a:t>
              </a:r>
              <a:endParaRPr lang="da-DK" sz="1100" dirty="0">
                <a:solidFill>
                  <a:prstClr val="white"/>
                </a:solidFill>
              </a:endParaRPr>
            </a:p>
          </p:txBody>
        </p:sp>
        <p:cxnSp>
          <p:nvCxnSpPr>
            <p:cNvPr id="43" name="Lige pilforbindelse 19"/>
            <p:cNvCxnSpPr>
              <a:endCxn id="38" idx="1"/>
            </p:cNvCxnSpPr>
            <p:nvPr/>
          </p:nvCxnSpPr>
          <p:spPr>
            <a:xfrm>
              <a:off x="1043608" y="2706129"/>
              <a:ext cx="2880736" cy="209359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Lige pilforbindelse 34"/>
            <p:cNvCxnSpPr>
              <a:stCxn id="38" idx="3"/>
              <a:endCxn id="25" idx="1"/>
            </p:cNvCxnSpPr>
            <p:nvPr/>
          </p:nvCxnSpPr>
          <p:spPr>
            <a:xfrm flipV="1">
              <a:off x="5220072" y="2977767"/>
              <a:ext cx="1295728" cy="182195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7448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tøtte til implementeringsarbejdet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sz="1800" dirty="0" smtClean="0"/>
              <a:t>Projektet og KOMBIT leverer støtte til den kommunale implementering via:</a:t>
            </a:r>
            <a:br>
              <a:rPr lang="da-DK" sz="1800" dirty="0" smtClean="0"/>
            </a:br>
            <a:r>
              <a:rPr lang="da-DK" sz="1800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 smtClean="0"/>
              <a:t>Sparring med de regionale implementeringsansvarlige</a:t>
            </a:r>
            <a:endParaRPr lang="da-DK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 smtClean="0"/>
              <a:t>Konsulentassistance </a:t>
            </a:r>
            <a:r>
              <a:rPr lang="da-DK" sz="1800" dirty="0"/>
              <a:t>fra KOMB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 smtClean="0"/>
              <a:t>Muligvis konsulentassistance fra projekt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/>
              <a:t>K</a:t>
            </a:r>
            <a:r>
              <a:rPr lang="da-DK" sz="1800" dirty="0" smtClean="0"/>
              <a:t>øb af hjælp fra leverandøren</a:t>
            </a:r>
          </a:p>
          <a:p>
            <a:endParaRPr lang="da-DK" sz="1800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053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9"/>
          <p:cNvSpPr/>
          <p:nvPr/>
        </p:nvSpPr>
        <p:spPr>
          <a:xfrm>
            <a:off x="2038168" y="2800758"/>
            <a:ext cx="50671" cy="16576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Rectangle 9"/>
          <p:cNvSpPr/>
          <p:nvPr/>
        </p:nvSpPr>
        <p:spPr>
          <a:xfrm>
            <a:off x="3777592" y="2833172"/>
            <a:ext cx="50671" cy="16576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7" name="Rectangle 9"/>
          <p:cNvSpPr/>
          <p:nvPr/>
        </p:nvSpPr>
        <p:spPr>
          <a:xfrm>
            <a:off x="4384266" y="2955934"/>
            <a:ext cx="45719" cy="270531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Udkast til plan for kommunale aktiviteter i relation til transition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8" name="TextBox 4"/>
          <p:cNvSpPr txBox="1"/>
          <p:nvPr/>
        </p:nvSpPr>
        <p:spPr>
          <a:xfrm>
            <a:off x="2027599" y="4521170"/>
            <a:ext cx="15252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Delleverance-</a:t>
            </a:r>
          </a:p>
          <a:p>
            <a:r>
              <a:rPr lang="da-DK" sz="1100" dirty="0" smtClean="0"/>
              <a:t>prøve 1 Godkendt</a:t>
            </a:r>
          </a:p>
          <a:p>
            <a:r>
              <a:rPr lang="da-DK" sz="1100" dirty="0" smtClean="0"/>
              <a:t>21. december 2015</a:t>
            </a:r>
          </a:p>
        </p:txBody>
      </p:sp>
      <p:sp>
        <p:nvSpPr>
          <p:cNvPr id="9" name="Rectangle 5"/>
          <p:cNvSpPr/>
          <p:nvPr/>
        </p:nvSpPr>
        <p:spPr>
          <a:xfrm>
            <a:off x="6768952" y="3042051"/>
            <a:ext cx="45719" cy="110217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ctangle 6"/>
          <p:cNvSpPr/>
          <p:nvPr/>
        </p:nvSpPr>
        <p:spPr>
          <a:xfrm flipH="1">
            <a:off x="8001047" y="2793416"/>
            <a:ext cx="45719" cy="10379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Rectangle 7"/>
          <p:cNvSpPr/>
          <p:nvPr/>
        </p:nvSpPr>
        <p:spPr>
          <a:xfrm flipH="1">
            <a:off x="5569910" y="2888628"/>
            <a:ext cx="45719" cy="175146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Rectangle 8"/>
          <p:cNvSpPr/>
          <p:nvPr/>
        </p:nvSpPr>
        <p:spPr>
          <a:xfrm>
            <a:off x="8489558" y="2926991"/>
            <a:ext cx="67530" cy="189426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Rectangle 9"/>
          <p:cNvSpPr/>
          <p:nvPr/>
        </p:nvSpPr>
        <p:spPr>
          <a:xfrm>
            <a:off x="3129479" y="2935538"/>
            <a:ext cx="50671" cy="16576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ctangle 10"/>
          <p:cNvSpPr/>
          <p:nvPr/>
        </p:nvSpPr>
        <p:spPr>
          <a:xfrm>
            <a:off x="5936276" y="2780928"/>
            <a:ext cx="45719" cy="21602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Rectangle 11"/>
          <p:cNvSpPr/>
          <p:nvPr/>
        </p:nvSpPr>
        <p:spPr>
          <a:xfrm>
            <a:off x="5279641" y="2900002"/>
            <a:ext cx="45719" cy="9366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Right Arrow 12"/>
          <p:cNvSpPr/>
          <p:nvPr/>
        </p:nvSpPr>
        <p:spPr>
          <a:xfrm>
            <a:off x="457128" y="2708920"/>
            <a:ext cx="8457164" cy="648072"/>
          </a:xfrm>
          <a:prstGeom prst="rightArrow">
            <a:avLst>
              <a:gd name="adj1" fmla="val 77798"/>
              <a:gd name="adj2" fmla="val 51264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Rectangle 14"/>
          <p:cNvSpPr/>
          <p:nvPr/>
        </p:nvSpPr>
        <p:spPr>
          <a:xfrm>
            <a:off x="466447" y="2780928"/>
            <a:ext cx="2643697" cy="5040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Rectangle 15"/>
          <p:cNvSpPr/>
          <p:nvPr/>
        </p:nvSpPr>
        <p:spPr>
          <a:xfrm>
            <a:off x="3126678" y="2780928"/>
            <a:ext cx="4829698" cy="50405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7" name="TextBox 23"/>
          <p:cNvSpPr txBox="1"/>
          <p:nvPr/>
        </p:nvSpPr>
        <p:spPr>
          <a:xfrm>
            <a:off x="4677645" y="4614233"/>
            <a:ext cx="14761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Delleverance-</a:t>
            </a:r>
          </a:p>
          <a:p>
            <a:r>
              <a:rPr lang="da-DK" sz="1100" dirty="0" smtClean="0"/>
              <a:t>prøve 2 godkendt</a:t>
            </a:r>
          </a:p>
          <a:p>
            <a:r>
              <a:rPr lang="da-DK" sz="1100" dirty="0" smtClean="0"/>
              <a:t>18. april 2016</a:t>
            </a:r>
          </a:p>
        </p:txBody>
      </p:sp>
      <p:sp>
        <p:nvSpPr>
          <p:cNvPr id="28" name="TextBox 24"/>
          <p:cNvSpPr txBox="1"/>
          <p:nvPr/>
        </p:nvSpPr>
        <p:spPr>
          <a:xfrm>
            <a:off x="7036254" y="3784757"/>
            <a:ext cx="147616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Overtagelsesprøve godkendt</a:t>
            </a:r>
          </a:p>
          <a:p>
            <a:r>
              <a:rPr lang="da-DK" sz="1100" dirty="0" smtClean="0"/>
              <a:t>8. august 2016</a:t>
            </a:r>
          </a:p>
        </p:txBody>
      </p:sp>
      <p:sp>
        <p:nvSpPr>
          <p:cNvPr id="30" name="TextBox 26"/>
          <p:cNvSpPr txBox="1"/>
          <p:nvPr/>
        </p:nvSpPr>
        <p:spPr>
          <a:xfrm>
            <a:off x="7682003" y="4821252"/>
            <a:ext cx="17065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Endelig </a:t>
            </a:r>
          </a:p>
          <a:p>
            <a:r>
              <a:rPr lang="da-DK" sz="1100" dirty="0" smtClean="0"/>
              <a:t>driftsprøve godkendt</a:t>
            </a:r>
          </a:p>
          <a:p>
            <a:r>
              <a:rPr lang="da-DK" sz="1100" dirty="0" smtClean="0"/>
              <a:t>11. november 2016</a:t>
            </a:r>
          </a:p>
        </p:txBody>
      </p:sp>
      <p:sp>
        <p:nvSpPr>
          <p:cNvPr id="31" name="Rektangel 30"/>
          <p:cNvSpPr/>
          <p:nvPr/>
        </p:nvSpPr>
        <p:spPr>
          <a:xfrm>
            <a:off x="8017581" y="2793416"/>
            <a:ext cx="576064" cy="479079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" name="Tekstfelt 31"/>
          <p:cNvSpPr txBox="1"/>
          <p:nvPr/>
        </p:nvSpPr>
        <p:spPr>
          <a:xfrm>
            <a:off x="644204" y="2833172"/>
            <a:ext cx="26536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Konstruktionsfase</a:t>
            </a:r>
            <a:endParaRPr lang="da-DK" dirty="0"/>
          </a:p>
        </p:txBody>
      </p:sp>
      <p:sp>
        <p:nvSpPr>
          <p:cNvPr id="33" name="Tekstfelt 32"/>
          <p:cNvSpPr txBox="1"/>
          <p:nvPr/>
        </p:nvSpPr>
        <p:spPr>
          <a:xfrm>
            <a:off x="4454273" y="2833172"/>
            <a:ext cx="3242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Udrulnings- og transitionsfase</a:t>
            </a:r>
            <a:endParaRPr lang="da-DK" dirty="0"/>
          </a:p>
        </p:txBody>
      </p:sp>
      <p:sp>
        <p:nvSpPr>
          <p:cNvPr id="34" name="Tekstfelt 33"/>
          <p:cNvSpPr txBox="1"/>
          <p:nvPr/>
        </p:nvSpPr>
        <p:spPr>
          <a:xfrm>
            <a:off x="5835510" y="4966446"/>
            <a:ext cx="8910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Pilotdrift for kommunerne i Nord 1.maj</a:t>
            </a:r>
            <a:endParaRPr lang="da-DK" sz="1100" dirty="0"/>
          </a:p>
        </p:txBody>
      </p:sp>
      <p:sp>
        <p:nvSpPr>
          <p:cNvPr id="35" name="Tekstfelt 34"/>
          <p:cNvSpPr txBox="1"/>
          <p:nvPr/>
        </p:nvSpPr>
        <p:spPr>
          <a:xfrm>
            <a:off x="5928884" y="3861048"/>
            <a:ext cx="11092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/>
              <a:t>D</a:t>
            </a:r>
            <a:r>
              <a:rPr lang="da-DK" sz="1100" dirty="0" smtClean="0"/>
              <a:t>rift for resten af kommunerne 1. juni</a:t>
            </a:r>
            <a:endParaRPr lang="da-DK" sz="1100" dirty="0"/>
          </a:p>
        </p:txBody>
      </p:sp>
      <p:sp>
        <p:nvSpPr>
          <p:cNvPr id="36" name="Tekstfelt 35"/>
          <p:cNvSpPr txBox="1"/>
          <p:nvPr/>
        </p:nvSpPr>
        <p:spPr>
          <a:xfrm>
            <a:off x="4454273" y="3815194"/>
            <a:ext cx="106223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Sidste </a:t>
            </a:r>
            <a:r>
              <a:rPr lang="da-DK" sz="1100" dirty="0" err="1" smtClean="0"/>
              <a:t>review</a:t>
            </a:r>
            <a:r>
              <a:rPr lang="da-DK" sz="1100" dirty="0" smtClean="0"/>
              <a:t> af transitions</a:t>
            </a:r>
          </a:p>
          <a:p>
            <a:r>
              <a:rPr lang="da-DK" sz="1100" dirty="0" smtClean="0"/>
              <a:t>forberedelser</a:t>
            </a:r>
          </a:p>
          <a:p>
            <a:r>
              <a:rPr lang="da-DK" sz="1100" dirty="0" err="1"/>
              <a:t>n</a:t>
            </a:r>
            <a:r>
              <a:rPr lang="da-DK" sz="1100" dirty="0" err="1" smtClean="0"/>
              <a:t>e</a:t>
            </a:r>
            <a:r>
              <a:rPr lang="da-DK" sz="1100" dirty="0" smtClean="0"/>
              <a:t> 11. april</a:t>
            </a:r>
            <a:endParaRPr lang="da-DK" sz="1100" dirty="0"/>
          </a:p>
        </p:txBody>
      </p:sp>
      <p:sp>
        <p:nvSpPr>
          <p:cNvPr id="38" name="Tekstfelt 37"/>
          <p:cNvSpPr txBox="1"/>
          <p:nvPr/>
        </p:nvSpPr>
        <p:spPr>
          <a:xfrm>
            <a:off x="4151295" y="5694085"/>
            <a:ext cx="11521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1.ste </a:t>
            </a:r>
            <a:r>
              <a:rPr lang="da-DK" sz="1100" dirty="0" err="1" smtClean="0"/>
              <a:t>review</a:t>
            </a:r>
            <a:r>
              <a:rPr lang="da-DK" sz="1100" dirty="0" smtClean="0"/>
              <a:t> af transitionsforberedelserne 1. marts</a:t>
            </a:r>
            <a:endParaRPr lang="da-DK" sz="1100" dirty="0"/>
          </a:p>
        </p:txBody>
      </p:sp>
      <p:sp>
        <p:nvSpPr>
          <p:cNvPr id="3" name="Tekstfelt 2"/>
          <p:cNvSpPr txBox="1"/>
          <p:nvPr/>
        </p:nvSpPr>
        <p:spPr>
          <a:xfrm>
            <a:off x="3297897" y="4542225"/>
            <a:ext cx="91406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Implementeringshånd</a:t>
            </a:r>
          </a:p>
          <a:p>
            <a:r>
              <a:rPr lang="da-DK" sz="1100" dirty="0" smtClean="0"/>
              <a:t>bog færdig 1. februar 2016</a:t>
            </a:r>
            <a:endParaRPr lang="da-DK" sz="1100" dirty="0"/>
          </a:p>
        </p:txBody>
      </p:sp>
      <p:sp>
        <p:nvSpPr>
          <p:cNvPr id="5" name="Tekstfelt 4"/>
          <p:cNvSpPr txBox="1"/>
          <p:nvPr/>
        </p:nvSpPr>
        <p:spPr>
          <a:xfrm>
            <a:off x="1016863" y="4245768"/>
            <a:ext cx="10316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Alle kommuner har fastlagt deres </a:t>
            </a:r>
            <a:r>
              <a:rPr lang="da-DK" sz="1100" dirty="0" err="1" smtClean="0"/>
              <a:t>udd.strategi</a:t>
            </a:r>
            <a:r>
              <a:rPr lang="da-DK" sz="1100" dirty="0" smtClean="0"/>
              <a:t> 1. oktober</a:t>
            </a:r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2248239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1800" b="1" dirty="0">
                <a:solidFill>
                  <a:srgbClr val="342F2B"/>
                </a:solidFill>
                <a:latin typeface="Arial"/>
                <a:cs typeface="Arial" pitchFamily="34" charset="0"/>
              </a:rPr>
              <a:t>I forbindelse med transitionen foreslås gennemført 4 mindre</a:t>
            </a:r>
            <a:r>
              <a:rPr lang="da-DK" sz="1800" b="1" dirty="0" smtClean="0">
                <a:solidFill>
                  <a:srgbClr val="342F2B"/>
                </a:solidFill>
                <a:latin typeface="Arial"/>
                <a:cs typeface="Arial" pitchFamily="34" charset="0"/>
              </a:rPr>
              <a:t>, </a:t>
            </a:r>
            <a:r>
              <a:rPr lang="da-DK" sz="1800" b="1" dirty="0" err="1">
                <a:solidFill>
                  <a:srgbClr val="342F2B"/>
                </a:solidFill>
                <a:latin typeface="Arial"/>
                <a:cs typeface="Arial" pitchFamily="34" charset="0"/>
              </a:rPr>
              <a:t>reviews</a:t>
            </a:r>
            <a:r>
              <a:rPr lang="da-DK" sz="1800" b="1" dirty="0">
                <a:solidFill>
                  <a:srgbClr val="342F2B"/>
                </a:solidFill>
                <a:latin typeface="Arial"/>
                <a:cs typeface="Arial" pitchFamily="34" charset="0"/>
              </a:rPr>
              <a:t>  i hver deltagende organisation og i kompetencecentret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cxnSp>
        <p:nvCxnSpPr>
          <p:cNvPr id="5" name="Straight Arrow Connector 7"/>
          <p:cNvCxnSpPr/>
          <p:nvPr/>
        </p:nvCxnSpPr>
        <p:spPr>
          <a:xfrm flipV="1">
            <a:off x="734981" y="1625943"/>
            <a:ext cx="7918895" cy="301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" name="Diamond 8"/>
          <p:cNvSpPr/>
          <p:nvPr/>
        </p:nvSpPr>
        <p:spPr>
          <a:xfrm>
            <a:off x="3851920" y="1268760"/>
            <a:ext cx="877599" cy="800833"/>
          </a:xfrm>
          <a:prstGeom prst="diamond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 smtClean="0">
              <a:solidFill>
                <a:schemeClr val="accent5"/>
              </a:solidFill>
            </a:endParaRPr>
          </a:p>
        </p:txBody>
      </p:sp>
      <p:sp>
        <p:nvSpPr>
          <p:cNvPr id="7" name="TextBox 9"/>
          <p:cNvSpPr txBox="1"/>
          <p:nvPr/>
        </p:nvSpPr>
        <p:spPr>
          <a:xfrm>
            <a:off x="3936285" y="1588151"/>
            <a:ext cx="68127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1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Transition</a:t>
            </a:r>
          </a:p>
        </p:txBody>
      </p:sp>
      <p:sp>
        <p:nvSpPr>
          <p:cNvPr id="8" name="Oval 10"/>
          <p:cNvSpPr/>
          <p:nvPr/>
        </p:nvSpPr>
        <p:spPr>
          <a:xfrm>
            <a:off x="683568" y="1566594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 smtClean="0">
              <a:solidFill>
                <a:schemeClr val="accent5"/>
              </a:solidFill>
            </a:endParaRPr>
          </a:p>
        </p:txBody>
      </p:sp>
      <p:sp>
        <p:nvSpPr>
          <p:cNvPr id="9" name="Oval 11"/>
          <p:cNvSpPr/>
          <p:nvPr/>
        </p:nvSpPr>
        <p:spPr>
          <a:xfrm>
            <a:off x="2835597" y="1566594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 smtClean="0">
              <a:solidFill>
                <a:schemeClr val="accent5"/>
              </a:solidFill>
            </a:endParaRPr>
          </a:p>
        </p:txBody>
      </p:sp>
      <p:sp>
        <p:nvSpPr>
          <p:cNvPr id="10" name="Oval 12"/>
          <p:cNvSpPr/>
          <p:nvPr/>
        </p:nvSpPr>
        <p:spPr>
          <a:xfrm>
            <a:off x="5364088" y="1566594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 smtClean="0">
              <a:solidFill>
                <a:schemeClr val="accent5"/>
              </a:solidFill>
            </a:endParaRPr>
          </a:p>
        </p:txBody>
      </p:sp>
      <p:sp>
        <p:nvSpPr>
          <p:cNvPr id="11" name="Oval 13"/>
          <p:cNvSpPr/>
          <p:nvPr/>
        </p:nvSpPr>
        <p:spPr>
          <a:xfrm>
            <a:off x="7884368" y="1566594"/>
            <a:ext cx="216024" cy="21602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 smtClean="0">
              <a:solidFill>
                <a:schemeClr val="accent5"/>
              </a:solidFill>
            </a:endParaRPr>
          </a:p>
        </p:txBody>
      </p:sp>
      <p:sp>
        <p:nvSpPr>
          <p:cNvPr id="12" name="TextBox 15"/>
          <p:cNvSpPr txBox="1"/>
          <p:nvPr/>
        </p:nvSpPr>
        <p:spPr>
          <a:xfrm>
            <a:off x="2339752" y="1387515"/>
            <a:ext cx="129614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- 3 uger</a:t>
            </a:r>
          </a:p>
        </p:txBody>
      </p:sp>
      <p:sp>
        <p:nvSpPr>
          <p:cNvPr id="13" name="TextBox 16"/>
          <p:cNvSpPr txBox="1"/>
          <p:nvPr/>
        </p:nvSpPr>
        <p:spPr>
          <a:xfrm>
            <a:off x="179512" y="1801688"/>
            <a:ext cx="132757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rammerne i organisation på plads ift. transitionen?</a:t>
            </a:r>
          </a:p>
        </p:txBody>
      </p:sp>
      <p:sp>
        <p:nvSpPr>
          <p:cNvPr id="14" name="TextBox 17"/>
          <p:cNvSpPr txBox="1"/>
          <p:nvPr/>
        </p:nvSpPr>
        <p:spPr>
          <a:xfrm>
            <a:off x="2347724" y="1789331"/>
            <a:ext cx="13275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organisationen klar til transition?</a:t>
            </a:r>
          </a:p>
        </p:txBody>
      </p:sp>
      <p:sp>
        <p:nvSpPr>
          <p:cNvPr id="15" name="TextBox 18"/>
          <p:cNvSpPr txBox="1"/>
          <p:nvPr/>
        </p:nvSpPr>
        <p:spPr>
          <a:xfrm>
            <a:off x="4798247" y="1387515"/>
            <a:ext cx="129614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+ ca. 2 uger</a:t>
            </a:r>
          </a:p>
        </p:txBody>
      </p:sp>
      <p:sp>
        <p:nvSpPr>
          <p:cNvPr id="16" name="TextBox 19"/>
          <p:cNvSpPr txBox="1"/>
          <p:nvPr/>
        </p:nvSpPr>
        <p:spPr>
          <a:xfrm>
            <a:off x="7357732" y="1387515"/>
            <a:ext cx="129614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+ ca. 2 </a:t>
            </a:r>
            <a:r>
              <a:rPr lang="da-DK" sz="1100" b="1" dirty="0" err="1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mnd</a:t>
            </a: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7" name="TextBox 20"/>
          <p:cNvSpPr txBox="1"/>
          <p:nvPr/>
        </p:nvSpPr>
        <p:spPr>
          <a:xfrm>
            <a:off x="4859615" y="1789331"/>
            <a:ext cx="132757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organisationen i forretningsmæssig kontrol efter transitionen?</a:t>
            </a:r>
          </a:p>
        </p:txBody>
      </p:sp>
      <p:sp>
        <p:nvSpPr>
          <p:cNvPr id="18" name="TextBox 21"/>
          <p:cNvSpPr txBox="1"/>
          <p:nvPr/>
        </p:nvSpPr>
        <p:spPr>
          <a:xfrm>
            <a:off x="7220581" y="1789331"/>
            <a:ext cx="1327574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Kan organisationen se vejen til </a:t>
            </a:r>
            <a:r>
              <a:rPr lang="da-DK" sz="1100" b="1" dirty="0" err="1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steady</a:t>
            </a: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a-DK" sz="1100" b="1" dirty="0" err="1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state</a:t>
            </a:r>
            <a:r>
              <a:rPr lang="da-DK" sz="1100" b="1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 drift?</a:t>
            </a:r>
          </a:p>
        </p:txBody>
      </p:sp>
      <p:sp>
        <p:nvSpPr>
          <p:cNvPr id="19" name="TextBox 26"/>
          <p:cNvSpPr txBox="1"/>
          <p:nvPr/>
        </p:nvSpPr>
        <p:spPr>
          <a:xfrm>
            <a:off x="323528" y="2480709"/>
            <a:ext cx="1327574" cy="321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100" u="sng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kuspunkter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organiseringen af den lokale transition </a:t>
            </a: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astlagt?</a:t>
            </a:r>
            <a:endParaRPr lang="da-DK" sz="1100" dirty="0">
              <a:solidFill>
                <a:srgbClr val="342F2B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n lokale plan for transition udarbejdet/-godkendt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relevante aktiviteter gennemført efter planen? 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rstår brugerne, hvad der bliver anderledes, når det nye kommer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 lokale interessenter med om bord?</a:t>
            </a:r>
          </a:p>
        </p:txBody>
      </p:sp>
      <p:sp>
        <p:nvSpPr>
          <p:cNvPr id="20" name="Oval 2"/>
          <p:cNvSpPr/>
          <p:nvPr/>
        </p:nvSpPr>
        <p:spPr>
          <a:xfrm>
            <a:off x="683592" y="1573331"/>
            <a:ext cx="216000" cy="216000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1" name="Oval 23"/>
          <p:cNvSpPr/>
          <p:nvPr/>
        </p:nvSpPr>
        <p:spPr>
          <a:xfrm>
            <a:off x="2843808" y="1561176"/>
            <a:ext cx="216000" cy="216000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 dirty="0">
                <a:solidFill>
                  <a:schemeClr val="bg2"/>
                </a:solidFill>
              </a:rPr>
              <a:t>2</a:t>
            </a:r>
            <a:endParaRPr lang="da-DK" sz="1000" b="1" dirty="0" smtClean="0">
              <a:solidFill>
                <a:schemeClr val="bg2"/>
              </a:solidFill>
            </a:endParaRPr>
          </a:p>
        </p:txBody>
      </p:sp>
      <p:sp>
        <p:nvSpPr>
          <p:cNvPr id="22" name="Oval 24"/>
          <p:cNvSpPr/>
          <p:nvPr/>
        </p:nvSpPr>
        <p:spPr>
          <a:xfrm>
            <a:off x="5364112" y="1569299"/>
            <a:ext cx="216000" cy="216000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 dirty="0" smtClean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23" name="Oval 28"/>
          <p:cNvSpPr/>
          <p:nvPr/>
        </p:nvSpPr>
        <p:spPr>
          <a:xfrm>
            <a:off x="7897804" y="1573331"/>
            <a:ext cx="216000" cy="216000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dirty="0" smtClean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24" name="TextBox 35"/>
          <p:cNvSpPr txBox="1"/>
          <p:nvPr/>
        </p:nvSpPr>
        <p:spPr>
          <a:xfrm>
            <a:off x="2387834" y="2505944"/>
            <a:ext cx="1327574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100" u="sng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kuspunkter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regår nedtælling til transitionen </a:t>
            </a:r>
            <a:r>
              <a:rPr lang="da-DK" sz="1100" dirty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som planlagt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uddannelse </a:t>
            </a: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planlagt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r udarbejdet relevant lokal dokumentation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taljer vedr. transition kommunikeret til alle relevante lokale interessenter?</a:t>
            </a:r>
          </a:p>
          <a:p>
            <a:pPr>
              <a:spcBef>
                <a:spcPts val="0"/>
              </a:spcBef>
            </a:pPr>
            <a:endParaRPr lang="da-DK" sz="1100" dirty="0">
              <a:solidFill>
                <a:srgbClr val="342F2B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a-DK" sz="1100" dirty="0" smtClean="0">
              <a:solidFill>
                <a:srgbClr val="342F2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36"/>
          <p:cNvSpPr txBox="1"/>
          <p:nvPr/>
        </p:nvSpPr>
        <p:spPr>
          <a:xfrm>
            <a:off x="4941039" y="2480709"/>
            <a:ext cx="1327574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100" u="sng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kuspunkter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 planlagte dele af det nye system taget i brug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r et lokalt overblik over </a:t>
            </a:r>
            <a:r>
              <a:rPr lang="da-DK" sz="1100" dirty="0" err="1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issues</a:t>
            </a: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 som skal løses og er der en tilfredsstillende plan for løsning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r opbakning blandt relevante, lokale interessenter?</a:t>
            </a:r>
            <a:endParaRPr lang="da-DK" sz="1100" dirty="0">
              <a:solidFill>
                <a:srgbClr val="342F2B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a-DK" sz="1100" dirty="0" smtClean="0">
              <a:solidFill>
                <a:srgbClr val="342F2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37"/>
          <p:cNvSpPr txBox="1"/>
          <p:nvPr/>
        </p:nvSpPr>
        <p:spPr>
          <a:xfrm>
            <a:off x="7276874" y="2480709"/>
            <a:ext cx="1327574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1100" u="sng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Fokuspunkter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</a:t>
            </a:r>
            <a:r>
              <a:rPr lang="da-DK" sz="1100" dirty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kriterierne for godkendelse af driftsprøven opfyldt set fra et lokalt perspektiv</a:t>
            </a: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Er der en tilfredsstillende plan for løsning af </a:t>
            </a:r>
            <a:r>
              <a:rPr lang="da-DK" sz="1100" dirty="0" err="1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issues</a:t>
            </a: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?</a:t>
            </a:r>
          </a:p>
          <a:p>
            <a:pPr marL="85725" indent="-85725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a-DK" sz="1100" dirty="0" smtClean="0">
                <a:solidFill>
                  <a:srgbClr val="342F2B"/>
                </a:solidFill>
                <a:latin typeface="Arial" pitchFamily="34" charset="0"/>
                <a:cs typeface="Arial" pitchFamily="34" charset="0"/>
              </a:rPr>
              <a:t>Behersker alle brugere det nye system og de nye arbejdsgange?</a:t>
            </a:r>
          </a:p>
        </p:txBody>
      </p:sp>
      <p:sp>
        <p:nvSpPr>
          <p:cNvPr id="27" name="Tekstfelt 26"/>
          <p:cNvSpPr txBox="1"/>
          <p:nvPr/>
        </p:nvSpPr>
        <p:spPr>
          <a:xfrm>
            <a:off x="571040" y="1339445"/>
            <a:ext cx="9723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b="1" dirty="0" smtClean="0"/>
              <a:t>- 2 mdr</a:t>
            </a:r>
            <a:r>
              <a:rPr lang="da-DK" sz="1100" dirty="0" smtClean="0"/>
              <a:t>.</a:t>
            </a:r>
            <a:endParaRPr lang="da-DK" sz="1100" dirty="0"/>
          </a:p>
        </p:txBody>
      </p:sp>
    </p:spTree>
    <p:extLst>
      <p:ext uri="{BB962C8B-B14F-4D97-AF65-F5344CB8AC3E}">
        <p14:creationId xmlns:p14="http://schemas.microsoft.com/office/powerpoint/2010/main" val="157187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4056841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Pladsholder til indhold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4865429"/>
              </p:ext>
            </p:extLst>
          </p:nvPr>
        </p:nvGraphicFramePr>
        <p:xfrm>
          <a:off x="467999" y="1124744"/>
          <a:ext cx="8171999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Fælles kompetencecen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9542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aksys.dk erstatter NOTUS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148064" y="1518693"/>
            <a:ext cx="3538736" cy="386330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0000" indent="-180000" algn="l" defTabSz="3600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538163" indent="-180975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1188000" indent="-180000" algn="l" defTabSz="914400" rtl="0" eaLnBrk="1" latinLnBrk="0" hangingPunct="1">
              <a:lnSpc>
                <a:spcPts val="22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4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8436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463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mtClean="0"/>
              <a:t>Praksys.dk erstatter:</a:t>
            </a:r>
          </a:p>
          <a:p>
            <a:endParaRPr lang="da-DK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smtClean="0"/>
              <a:t>NOTUS Kommu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smtClean="0"/>
              <a:t>NOTUS Regiona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smtClean="0"/>
              <a:t>øvrige NOTUS systemer jf. figu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smtClean="0"/>
              <a:t>alle integrationer </a:t>
            </a:r>
          </a:p>
          <a:p>
            <a:endParaRPr lang="da-DK" smtClean="0"/>
          </a:p>
          <a:p>
            <a:r>
              <a:rPr lang="da-DK" smtClean="0"/>
              <a:t> </a:t>
            </a:r>
            <a:endParaRPr lang="da-DK" dirty="0"/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55" y="1268760"/>
            <a:ext cx="3891713" cy="48965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Straight Connector 6"/>
          <p:cNvCxnSpPr/>
          <p:nvPr/>
        </p:nvCxnSpPr>
        <p:spPr>
          <a:xfrm>
            <a:off x="342382" y="2031820"/>
            <a:ext cx="0" cy="326938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323528" y="2046334"/>
            <a:ext cx="12961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1619672" y="1196752"/>
            <a:ext cx="0" cy="86409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1619672" y="1211266"/>
            <a:ext cx="144016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3059832" y="2041247"/>
            <a:ext cx="1224136" cy="56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4265849" y="2060848"/>
            <a:ext cx="0" cy="224676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318441" y="5293771"/>
            <a:ext cx="12961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594984" y="5279257"/>
            <a:ext cx="0" cy="38199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1571043" y="5642394"/>
            <a:ext cx="150279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3059832" y="4336076"/>
            <a:ext cx="122413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064407" y="4321562"/>
            <a:ext cx="0" cy="133968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053904" y="1196752"/>
            <a:ext cx="0" cy="86409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860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190879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56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Foreløbigt skærmbillede i det nye Praksys.dk</a:t>
            </a:r>
            <a:endParaRPr lang="da-DK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dirty="0"/>
          </a:p>
        </p:txBody>
      </p:sp>
      <p:pic>
        <p:nvPicPr>
          <p:cNvPr id="3074" name="Picture 2" descr="1__=4EBBF7F9DFA78EF18f9e8a93df938690@csc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90103"/>
            <a:ext cx="8784976" cy="471822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267744" y="2636912"/>
            <a:ext cx="5328592" cy="20162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3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417638"/>
            <a:ext cx="5891213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461" y="2751437"/>
            <a:ext cx="5878800" cy="2653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9547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Hvad nu?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2002412"/>
            <a:ext cx="3816424" cy="344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11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Tak for i dag!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28000" y="6215560"/>
            <a:ext cx="935688" cy="360000"/>
          </a:xfrm>
        </p:spPr>
        <p:txBody>
          <a:bodyPr/>
          <a:lstStyle/>
          <a:p>
            <a:r>
              <a:rPr lang="da-DK" dirty="0" smtClean="0"/>
              <a:t>18. februar 2014            </a:t>
            </a:r>
            <a:r>
              <a:rPr lang="da-DK" dirty="0" err="1" smtClean="0"/>
              <a:t>Praksys</a:t>
            </a:r>
            <a:endParaRPr lang="da-DK" dirty="0"/>
          </a:p>
        </p:txBody>
      </p:sp>
      <p:pic>
        <p:nvPicPr>
          <p:cNvPr id="1026" name="Picture 2" descr="C:\Users\rdh\AppData\Local\Microsoft\Windows\Temporary Internet Files\Content.IE5\673NTHOG\MP900442177[1]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4142" y="1584325"/>
            <a:ext cx="4620791" cy="410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rdh\AppData\Local\Microsoft\Windows\Temporary Internet Files\Content.IE5\673NTHOG\MP900442177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980728"/>
            <a:ext cx="5659794" cy="5028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22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dækker det nye Praksys.dk over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96752"/>
            <a:ext cx="6139532" cy="4739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56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De vigtigste forandringer for kommunern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18. februar 2014            Praksys</a:t>
            </a:r>
            <a:endParaRPr lang="da-DK" noProof="0" dirty="0"/>
          </a:p>
        </p:txBody>
      </p:sp>
      <p:sp>
        <p:nvSpPr>
          <p:cNvPr id="5" name="Rectangle 4"/>
          <p:cNvSpPr/>
          <p:nvPr/>
        </p:nvSpPr>
        <p:spPr>
          <a:xfrm>
            <a:off x="251520" y="5805264"/>
            <a:ext cx="8640960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389549"/>
              </p:ext>
            </p:extLst>
          </p:nvPr>
        </p:nvGraphicFramePr>
        <p:xfrm>
          <a:off x="508488" y="1124744"/>
          <a:ext cx="8095961" cy="549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79736"/>
                <a:gridCol w="864096"/>
                <a:gridCol w="1152129"/>
              </a:tblGrid>
              <a:tr h="370840">
                <a:tc>
                  <a:txBody>
                    <a:bodyPr/>
                    <a:lstStyle/>
                    <a:p>
                      <a:r>
                        <a:rPr lang="da-DK" dirty="0" smtClean="0"/>
                        <a:t>Forandringer (der kan</a:t>
                      </a:r>
                      <a:r>
                        <a:rPr lang="da-DK" baseline="0" dirty="0" smtClean="0"/>
                        <a:t> ske ændringer)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Note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dirty="0" smtClean="0"/>
                        <a:t>Type</a:t>
                      </a:r>
                      <a:endParaRPr lang="da-DK" dirty="0"/>
                    </a:p>
                  </a:txBody>
                  <a:tcPr/>
                </a:tc>
              </a:tr>
              <a:tr h="221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Betydelig mindre håndtering af dispensationsansøgninger (foregår via selvbetjening og afstandsdispensation er afskaffet)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NOTUS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Selvbetjening</a:t>
                      </a:r>
                    </a:p>
                  </a:txBody>
                  <a:tcPr horzOverflow="overflow"/>
                </a:tc>
              </a:tr>
              <a:tr h="221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Selvbetjening til Sikrede til ændring af følgeskab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smtClean="0"/>
                        <a:t>NOTUS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Selvbetjening</a:t>
                      </a:r>
                    </a:p>
                  </a:txBody>
                  <a:tcPr horzOverflow="overflow"/>
                </a:tc>
              </a:tr>
              <a:tr h="221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Samtykke til overdragelse af journal gøres tilgængeligt som selvbetjening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NOTUS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Selvbetjening</a:t>
                      </a:r>
                    </a:p>
                  </a:txBody>
                  <a:tcPr horzOverflow="overflow"/>
                </a:tc>
              </a:tr>
              <a:tr h="221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Automatiske bogføring (integration til Kommunale økonomisystemer)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NOTUS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Integration</a:t>
                      </a:r>
                    </a:p>
                  </a:txBody>
                  <a:tcPr horzOverflow="overflow"/>
                </a:tc>
              </a:tr>
              <a:tr h="1994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Integration til den fællesoffentlige fuldmagtsløsning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a-DK" sz="1200" dirty="0" smtClean="0"/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Integration</a:t>
                      </a:r>
                    </a:p>
                  </a:txBody>
                  <a:tcPr horzOverflow="overflow"/>
                </a:tc>
              </a:tr>
              <a:tr h="1994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Automatisk skift af sikringsgruppe ifm. indsættelse/løsladelse (integration til kriminalforsorgen)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Integration</a:t>
                      </a:r>
                    </a:p>
                  </a:txBody>
                  <a:tcPr horzOverflow="overflow"/>
                </a:tc>
              </a:tr>
              <a:tr h="1886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Automatisk validering gebyrkrav også bliver en del af sagsbehandlerløsningen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a-DK" sz="1200" dirty="0" smtClean="0"/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a-DK" sz="1200" dirty="0" smtClean="0"/>
                        <a:t>Automatik</a:t>
                      </a:r>
                    </a:p>
                  </a:txBody>
                  <a:tcPr horzOverflow="overflow"/>
                </a:tc>
              </a:tr>
              <a:tr h="203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Automatisk tildeling af læger ved manglende lægevalg samt automatisk valg af læger ifm. lægevalg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smtClean="0"/>
                        <a:t>Automatik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Ingen udsendelse af fysiske breve – (næsten) alt foregår via Fjernprint. Herunder også midlertidige beviser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smtClean="0"/>
                        <a:t>(NOTUS)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smtClean="0"/>
                        <a:t>Automatik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</a:tr>
              <a:tr h="1809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Automatisk afregning med regioner ift. gr.2 sikredes regninger samt vederlagsfri fysioterapi 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smtClean="0"/>
                        <a:t>Automatik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</a:tr>
              <a:tr h="1809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Automatisk fordeling af sikrede ifm. praksisopsplitning, da aftale mellem lægerne kan registreres i Praksys.dk.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Automatik</a:t>
                      </a:r>
                    </a:p>
                  </a:txBody>
                  <a:tcPr horzOverflow="overflow"/>
                </a:tc>
              </a:tr>
              <a:tr h="1731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Indtastning og validering af gr. 2 sikredes regninger direkte i Praksys.dk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a-DK" sz="1200" dirty="0" smtClean="0">
                        <a:solidFill>
                          <a:srgbClr val="FF0000"/>
                        </a:solidFill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da-DK" sz="1200" dirty="0" smtClean="0">
                        <a:solidFill>
                          <a:srgbClr val="FF0000"/>
                        </a:solidFill>
                      </a:endParaRPr>
                    </a:p>
                  </a:txBody>
                  <a:tcPr horzOverflow="overflow"/>
                </a:tc>
              </a:tr>
              <a:tr h="1660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Bedre opgavestyring (i stedet for de nuværende adviser)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</a:tr>
              <a:tr h="12150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da-DK" sz="1200" dirty="0" err="1" smtClean="0"/>
                        <a:t>NemSMS</a:t>
                      </a:r>
                      <a:r>
                        <a:rPr lang="da-DK" sz="1200" dirty="0" smtClean="0"/>
                        <a:t>, bl.a.</a:t>
                      </a:r>
                      <a:r>
                        <a:rPr lang="da-DK" sz="1200" baseline="0" dirty="0" smtClean="0"/>
                        <a:t> i forbindelse med bestilling af kort (besked når kort er afsendt fra kortleverandør)</a:t>
                      </a: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a-DK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etaBook-Roman" pitchFamily="34" charset="0"/>
                          <a:sym typeface="Symbol" pitchFamily="18" charset="2"/>
                        </a:rPr>
                        <a:t>NOTUS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A5002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da-DK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etaBook-Roman" pitchFamily="34" charset="0"/>
                        <a:sym typeface="Symbol" pitchFamily="18" charset="2"/>
                      </a:endParaRPr>
                    </a:p>
                  </a:txBody>
                  <a:tcPr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6239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aggrund og samarbejd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b="1" dirty="0"/>
              <a:t>Hvorfor nyt ”Sygesikringssystem”?</a:t>
            </a:r>
          </a:p>
          <a:p>
            <a:pPr marL="342900" lvl="2" indent="-342900" defTabSz="914400">
              <a:lnSpc>
                <a:spcPts val="2600"/>
              </a:lnSpc>
            </a:pPr>
            <a:r>
              <a:rPr lang="da-DK" sz="1800" dirty="0"/>
              <a:t>Udbudspligt</a:t>
            </a:r>
          </a:p>
          <a:p>
            <a:pPr marL="342900" lvl="2" indent="-342900" defTabSz="914400">
              <a:lnSpc>
                <a:spcPts val="2600"/>
              </a:lnSpc>
            </a:pPr>
            <a:r>
              <a:rPr lang="da-DK" sz="1800" dirty="0"/>
              <a:t>Forventet stor gevinst ift. </a:t>
            </a:r>
            <a:r>
              <a:rPr lang="da-DK" sz="1800" dirty="0" err="1"/>
              <a:t>driftomkostninger</a:t>
            </a:r>
            <a:r>
              <a:rPr lang="da-DK" sz="1800" dirty="0"/>
              <a:t> + evt. effektiviserings-gevinster, som ikke er prissat</a:t>
            </a:r>
          </a:p>
          <a:p>
            <a:pPr marL="0" lvl="2" indent="0" defTabSz="914400">
              <a:lnSpc>
                <a:spcPts val="2600"/>
              </a:lnSpc>
              <a:buNone/>
            </a:pPr>
            <a:endParaRPr lang="da-DK" dirty="0"/>
          </a:p>
          <a:p>
            <a:pPr marL="0" lvl="2" indent="0" defTabSz="914400">
              <a:lnSpc>
                <a:spcPts val="2600"/>
              </a:lnSpc>
              <a:buNone/>
            </a:pPr>
            <a:r>
              <a:rPr lang="da-DK" b="1" dirty="0"/>
              <a:t>Samarbejde om Praksys.d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/>
              <a:t>Delegationen fra alle kommuner:</a:t>
            </a:r>
          </a:p>
          <a:p>
            <a:pPr marL="702900" lvl="2" indent="-342900"/>
            <a:r>
              <a:rPr lang="da-DK" sz="1400" dirty="0"/>
              <a:t>Samme eller lavere betaling</a:t>
            </a:r>
          </a:p>
          <a:p>
            <a:pPr marL="702900" lvl="2" indent="-342900"/>
            <a:r>
              <a:rPr lang="da-DK" sz="1400" dirty="0"/>
              <a:t>Mulighed for hjemtagelse af den vederlagsfri fysioterap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800" dirty="0"/>
              <a:t>Samarbejdsaftale mellem regioner og kommuner:</a:t>
            </a:r>
          </a:p>
          <a:p>
            <a:pPr marL="702900" lvl="2" indent="-342900"/>
            <a:r>
              <a:rPr lang="da-DK" sz="1400" dirty="0"/>
              <a:t>Opdeling af funktionalitet og betaling</a:t>
            </a:r>
          </a:p>
          <a:p>
            <a:pPr marL="702900" lvl="2" indent="-342900"/>
            <a:r>
              <a:rPr lang="da-DK" sz="1400" dirty="0"/>
              <a:t>Fællesfunktionalitet – kommunerne betaler 1/7</a:t>
            </a:r>
          </a:p>
          <a:p>
            <a:pPr marL="702900" lvl="2" indent="-342900"/>
            <a:r>
              <a:rPr lang="da-DK" sz="1400" dirty="0"/>
              <a:t>Omfatter både udvikling og drift i op til 8 år</a:t>
            </a:r>
          </a:p>
          <a:p>
            <a:pPr marL="702900" lvl="2" indent="-342900"/>
            <a:r>
              <a:rPr lang="da-DK" sz="1400" dirty="0"/>
              <a:t>En kommune kan selv igangsætte (og betale) for ny funktionalitet, som ikke påvirker </a:t>
            </a:r>
            <a:r>
              <a:rPr lang="da-DK" sz="1400" dirty="0" smtClean="0"/>
              <a:t>andre negativt. Funktionaliteten skal stilles til rådighed for alle.</a:t>
            </a:r>
            <a:endParaRPr lang="da-DK" sz="1400" dirty="0"/>
          </a:p>
          <a:p>
            <a:endParaRPr lang="da-DK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64823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Agenda</a:t>
            </a:r>
          </a:p>
        </p:txBody>
      </p:sp>
      <p:graphicFrame>
        <p:nvGraphicFramePr>
          <p:cNvPr id="3769625" name="DBC_Agenda_Textbox"/>
          <p:cNvGraphicFramePr>
            <a:graphicFrameLocks noGrp="1"/>
          </p:cNvGraphicFramePr>
          <p:nvPr/>
        </p:nvGraphicFramePr>
        <p:xfrm>
          <a:off x="400051" y="1154112"/>
          <a:ext cx="8342434" cy="4800600"/>
        </p:xfrm>
        <a:graphic>
          <a:graphicData uri="http://schemas.openxmlformats.org/drawingml/2006/table">
            <a:tbl>
              <a:tblPr/>
              <a:tblGrid>
                <a:gridCol w="7243783"/>
                <a:gridCol w="1098651"/>
              </a:tblGrid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ggrund og samarbejd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Organisering og deltagelse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D6EB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idsplan og status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usiness case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isici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st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ransition og implementering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ompetencecenter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et nye Praksys.dk</a:t>
                      </a: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49846" marR="49846" marT="54000" marB="54000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740378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rganisering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raksys.dk</a:t>
            </a:r>
            <a:endParaRPr lang="da-DK" dirty="0"/>
          </a:p>
        </p:txBody>
      </p:sp>
      <p:sp>
        <p:nvSpPr>
          <p:cNvPr id="5" name="Rounded Rectangle 4"/>
          <p:cNvSpPr/>
          <p:nvPr/>
        </p:nvSpPr>
        <p:spPr>
          <a:xfrm>
            <a:off x="594144" y="4717378"/>
            <a:ext cx="7992888" cy="951636"/>
          </a:xfrm>
          <a:prstGeom prst="roundRect">
            <a:avLst/>
          </a:prstGeom>
          <a:solidFill>
            <a:srgbClr val="EBC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ounded Rectangle 5"/>
          <p:cNvSpPr/>
          <p:nvPr/>
        </p:nvSpPr>
        <p:spPr>
          <a:xfrm>
            <a:off x="594144" y="3637258"/>
            <a:ext cx="7992888" cy="951636"/>
          </a:xfrm>
          <a:prstGeom prst="roundRect">
            <a:avLst/>
          </a:prstGeom>
          <a:solidFill>
            <a:srgbClr val="EBC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Rounded Rectangle 6"/>
          <p:cNvSpPr/>
          <p:nvPr/>
        </p:nvSpPr>
        <p:spPr>
          <a:xfrm>
            <a:off x="594144" y="2543490"/>
            <a:ext cx="7992888" cy="951636"/>
          </a:xfrm>
          <a:prstGeom prst="roundRect">
            <a:avLst/>
          </a:prstGeom>
          <a:solidFill>
            <a:srgbClr val="EBC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ounded Rectangle 7"/>
          <p:cNvSpPr/>
          <p:nvPr/>
        </p:nvSpPr>
        <p:spPr>
          <a:xfrm>
            <a:off x="594144" y="1440072"/>
            <a:ext cx="7992888" cy="951636"/>
          </a:xfrm>
          <a:prstGeom prst="roundRect">
            <a:avLst/>
          </a:prstGeom>
          <a:solidFill>
            <a:srgbClr val="EBC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ounded Rectangle 8"/>
          <p:cNvSpPr/>
          <p:nvPr/>
        </p:nvSpPr>
        <p:spPr>
          <a:xfrm>
            <a:off x="3419872" y="1512080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styregruppe</a:t>
            </a:r>
            <a:endParaRPr lang="da-DK" sz="1400" dirty="0"/>
          </a:p>
        </p:txBody>
      </p:sp>
      <p:sp>
        <p:nvSpPr>
          <p:cNvPr id="10" name="Rounded Rectangle 9"/>
          <p:cNvSpPr/>
          <p:nvPr/>
        </p:nvSpPr>
        <p:spPr>
          <a:xfrm>
            <a:off x="3419872" y="2623264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projektgruppe</a:t>
            </a:r>
            <a:endParaRPr lang="da-DK" sz="1400" dirty="0"/>
          </a:p>
        </p:txBody>
      </p:sp>
      <p:cxnSp>
        <p:nvCxnSpPr>
          <p:cNvPr id="11" name="Straight Connector 10"/>
          <p:cNvCxnSpPr>
            <a:stCxn id="9" idx="2"/>
            <a:endCxn id="10" idx="0"/>
          </p:cNvCxnSpPr>
          <p:nvPr/>
        </p:nvCxnSpPr>
        <p:spPr>
          <a:xfrm>
            <a:off x="4139952" y="2304168"/>
            <a:ext cx="0" cy="31909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364088" y="2623264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følgegruppe</a:t>
            </a:r>
            <a:endParaRPr lang="da-DK" sz="1400" dirty="0"/>
          </a:p>
        </p:txBody>
      </p:sp>
      <p:cxnSp>
        <p:nvCxnSpPr>
          <p:cNvPr id="13" name="Straight Connector 12"/>
          <p:cNvCxnSpPr>
            <a:stCxn id="12" idx="1"/>
          </p:cNvCxnSpPr>
          <p:nvPr/>
        </p:nvCxnSpPr>
        <p:spPr>
          <a:xfrm flipH="1">
            <a:off x="4860032" y="3019308"/>
            <a:ext cx="50405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3419872" y="3717032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brugergruppe</a:t>
            </a:r>
            <a:endParaRPr lang="da-DK" sz="1400" dirty="0"/>
          </a:p>
        </p:txBody>
      </p:sp>
      <p:cxnSp>
        <p:nvCxnSpPr>
          <p:cNvPr id="15" name="Straight Connector 14"/>
          <p:cNvCxnSpPr>
            <a:stCxn id="10" idx="2"/>
            <a:endCxn id="14" idx="0"/>
          </p:cNvCxnSpPr>
          <p:nvPr/>
        </p:nvCxnSpPr>
        <p:spPr>
          <a:xfrm>
            <a:off x="4139952" y="3415352"/>
            <a:ext cx="0" cy="30168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15"/>
          <p:cNvSpPr/>
          <p:nvPr/>
        </p:nvSpPr>
        <p:spPr>
          <a:xfrm>
            <a:off x="4644008" y="4797152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støttegruppe</a:t>
            </a:r>
            <a:endParaRPr lang="da-DK" sz="1400" dirty="0"/>
          </a:p>
        </p:txBody>
      </p:sp>
      <p:sp>
        <p:nvSpPr>
          <p:cNvPr id="17" name="Rounded Rectangle 16"/>
          <p:cNvSpPr/>
          <p:nvPr/>
        </p:nvSpPr>
        <p:spPr>
          <a:xfrm>
            <a:off x="2411760" y="4797152"/>
            <a:ext cx="1440160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Kommunal testgruppe</a:t>
            </a:r>
            <a:endParaRPr lang="da-DK" sz="1400" dirty="0"/>
          </a:p>
        </p:txBody>
      </p:sp>
      <p:cxnSp>
        <p:nvCxnSpPr>
          <p:cNvPr id="18" name="Straight Connector 17"/>
          <p:cNvCxnSpPr>
            <a:stCxn id="14" idx="2"/>
            <a:endCxn id="17" idx="0"/>
          </p:cNvCxnSpPr>
          <p:nvPr/>
        </p:nvCxnSpPr>
        <p:spPr>
          <a:xfrm flipH="1">
            <a:off x="3131840" y="4509120"/>
            <a:ext cx="1008112" cy="2880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endCxn id="16" idx="0"/>
          </p:cNvCxnSpPr>
          <p:nvPr/>
        </p:nvCxnSpPr>
        <p:spPr>
          <a:xfrm>
            <a:off x="4139952" y="4509120"/>
            <a:ext cx="1224136" cy="2880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83568" y="1512080"/>
            <a:ext cx="18722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København</a:t>
            </a:r>
          </a:p>
          <a:p>
            <a:r>
              <a:rPr lang="da-DK" sz="1400" dirty="0" smtClean="0"/>
              <a:t>Herlev </a:t>
            </a:r>
          </a:p>
          <a:p>
            <a:r>
              <a:rPr lang="da-DK" sz="1400" dirty="0" smtClean="0"/>
              <a:t>Herning</a:t>
            </a:r>
            <a:endParaRPr lang="da-DK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6821664" y="2504215"/>
            <a:ext cx="15841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200" dirty="0" err="1" smtClean="0"/>
              <a:t>Kbh</a:t>
            </a:r>
            <a:r>
              <a:rPr lang="da-DK" sz="1200" dirty="0" smtClean="0"/>
              <a:t> og </a:t>
            </a:r>
            <a:r>
              <a:rPr lang="da-DK" sz="1200" dirty="0" err="1" smtClean="0"/>
              <a:t>Fr.b</a:t>
            </a:r>
            <a:r>
              <a:rPr lang="da-DK" sz="1200" dirty="0" smtClean="0"/>
              <a:t>.</a:t>
            </a:r>
          </a:p>
          <a:p>
            <a:pPr algn="r"/>
            <a:r>
              <a:rPr lang="da-DK" sz="1200" smtClean="0"/>
              <a:t>Helsingør</a:t>
            </a:r>
            <a:endParaRPr lang="da-DK" sz="1200" dirty="0" smtClean="0"/>
          </a:p>
          <a:p>
            <a:pPr algn="r"/>
            <a:r>
              <a:rPr lang="da-DK" sz="1200" dirty="0" smtClean="0"/>
              <a:t>Odense</a:t>
            </a:r>
          </a:p>
          <a:p>
            <a:pPr algn="r"/>
            <a:r>
              <a:rPr lang="da-DK" sz="1200" dirty="0" smtClean="0"/>
              <a:t>Århus</a:t>
            </a:r>
          </a:p>
          <a:p>
            <a:pPr algn="r"/>
            <a:r>
              <a:rPr lang="da-DK" sz="1200" dirty="0" smtClean="0"/>
              <a:t>KL</a:t>
            </a:r>
            <a:endParaRPr lang="da-DK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83568" y="3743744"/>
            <a:ext cx="18722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København</a:t>
            </a:r>
          </a:p>
          <a:p>
            <a:r>
              <a:rPr lang="da-DK" sz="1400" dirty="0" smtClean="0"/>
              <a:t>Frederiksberg</a:t>
            </a:r>
          </a:p>
          <a:p>
            <a:r>
              <a:rPr lang="da-DK" sz="1400" dirty="0" smtClean="0"/>
              <a:t>Herning</a:t>
            </a:r>
            <a:endParaRPr lang="da-DK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660828" y="5039307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Odder</a:t>
            </a:r>
            <a:endParaRPr lang="da-DK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6876256" y="4722529"/>
            <a:ext cx="158417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100" dirty="0" smtClean="0"/>
              <a:t>Ålborg</a:t>
            </a:r>
          </a:p>
          <a:p>
            <a:pPr algn="r"/>
            <a:r>
              <a:rPr lang="da-DK" sz="1100" dirty="0" smtClean="0"/>
              <a:t>Odense</a:t>
            </a:r>
          </a:p>
          <a:p>
            <a:pPr algn="r"/>
            <a:r>
              <a:rPr lang="da-DK" sz="1100" dirty="0" smtClean="0"/>
              <a:t>Skanderborg</a:t>
            </a:r>
          </a:p>
          <a:p>
            <a:pPr algn="r"/>
            <a:r>
              <a:rPr lang="da-DK" sz="1100" dirty="0" smtClean="0"/>
              <a:t>Esbjerg</a:t>
            </a:r>
          </a:p>
          <a:p>
            <a:pPr algn="r"/>
            <a:r>
              <a:rPr lang="da-DK" sz="1100" dirty="0" smtClean="0"/>
              <a:t>København</a:t>
            </a:r>
            <a:endParaRPr lang="da-DK" sz="1100" dirty="0"/>
          </a:p>
        </p:txBody>
      </p:sp>
      <p:sp>
        <p:nvSpPr>
          <p:cNvPr id="25" name="TextBox 24"/>
          <p:cNvSpPr txBox="1"/>
          <p:nvPr/>
        </p:nvSpPr>
        <p:spPr>
          <a:xfrm>
            <a:off x="683568" y="2865419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KOMBIT</a:t>
            </a:r>
            <a:endParaRPr lang="da-DK" sz="1400" dirty="0"/>
          </a:p>
        </p:txBody>
      </p:sp>
      <p:sp>
        <p:nvSpPr>
          <p:cNvPr id="3" name="Tekstfelt 2"/>
          <p:cNvSpPr txBox="1"/>
          <p:nvPr/>
        </p:nvSpPr>
        <p:spPr>
          <a:xfrm>
            <a:off x="6948264" y="1628800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KL</a:t>
            </a:r>
          </a:p>
          <a:p>
            <a:r>
              <a:rPr lang="da-DK" sz="1400" dirty="0" smtClean="0"/>
              <a:t>KOMBIT</a:t>
            </a:r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val="301615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2438" y="502052"/>
            <a:ext cx="8229600" cy="720000"/>
          </a:xfrm>
        </p:spPr>
        <p:txBody>
          <a:bodyPr/>
          <a:lstStyle/>
          <a:p>
            <a:r>
              <a:rPr lang="da-DK" dirty="0" smtClean="0"/>
              <a:t>Kommunal bemanding af projektet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755577" y="6469112"/>
            <a:ext cx="1008112" cy="144208"/>
          </a:xfrm>
        </p:spPr>
        <p:txBody>
          <a:bodyPr/>
          <a:lstStyle/>
          <a:p>
            <a:r>
              <a:rPr lang="da-DK" noProof="0" smtClean="0"/>
              <a:t>18. februar 2014            Praksys</a:t>
            </a:r>
            <a:endParaRPr lang="da-DK" noProof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830043"/>
              </p:ext>
            </p:extLst>
          </p:nvPr>
        </p:nvGraphicFramePr>
        <p:xfrm>
          <a:off x="494840" y="977776"/>
          <a:ext cx="8136905" cy="613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  <a:gridCol w="3672408"/>
                <a:gridCol w="3240361"/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200" dirty="0" smtClean="0"/>
                        <a:t>Rolle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200" dirty="0" smtClean="0"/>
                        <a:t>Beskrivelse og deltagelse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200" dirty="0" smtClean="0"/>
                        <a:t>Navne</a:t>
                      </a:r>
                      <a:endParaRPr lang="da-DK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glige ekspert</a:t>
                      </a:r>
                      <a:r>
                        <a:rPr lang="da-DK" sz="12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mmunal sygesikr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00-400</a:t>
                      </a:r>
                      <a:r>
                        <a:rPr lang="da-DK" sz="12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imer)</a:t>
                      </a:r>
                      <a:endParaRPr lang="da-DK" sz="1200" dirty="0" smtClean="0"/>
                    </a:p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dirty="0" smtClean="0"/>
                        <a:t>Anvender NOTUS Kommunal </a:t>
                      </a:r>
                    </a:p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dirty="0" smtClean="0"/>
                        <a:t>Specifikation og design af funktionalitet og brugergrænseflade i Praksys.dk</a:t>
                      </a:r>
                    </a:p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dirty="0" smtClean="0"/>
                        <a:t>Til</a:t>
                      </a:r>
                      <a:r>
                        <a:rPr lang="da-DK" sz="1200" baseline="0" dirty="0" smtClean="0"/>
                        <a:t> r</a:t>
                      </a:r>
                      <a:r>
                        <a:rPr lang="da-DK" sz="1200" dirty="0" smtClean="0"/>
                        <a:t>ådighed for leverandørens spørgsmål</a:t>
                      </a:r>
                    </a:p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dirty="0" smtClean="0"/>
                        <a:t>Ad hoc tests </a:t>
                      </a:r>
                    </a:p>
                    <a:p>
                      <a:pPr marL="285750" indent="-285750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dirty="0" err="1" smtClean="0"/>
                        <a:t>Review</a:t>
                      </a:r>
                      <a:r>
                        <a:rPr lang="da-DK" sz="1200" dirty="0" smtClean="0"/>
                        <a:t> af testcases og medvirken ved leverance- og overtagelsesprøve</a:t>
                      </a:r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Lene Hansen, Herning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Jens Justesen, Frederiksberg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Birgitte Knoblauch, Københavns Kommun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mæneekspert - vederlagsfri fysioterapi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90-120 timer)</a:t>
                      </a:r>
                    </a:p>
                    <a:p>
                      <a:endParaRPr lang="da-DK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vender</a:t>
                      </a:r>
                      <a:r>
                        <a:rPr lang="da-DK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t nuværende Sygesikringssystem som aftagere af </a:t>
                      </a:r>
                      <a:r>
                        <a:rPr lang="da-DK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olling</a:t>
                      </a:r>
                      <a:r>
                        <a:rPr lang="da-DK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apport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ministrerer de kommunale fysioterapier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tagelse som ovenfor, men i mindre omfa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Vibeke Andersen, Vejen Kommune (sluttet)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Søren Kristensen, Aarhus Kommune (sluttet)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da-DK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mæneekspert - økonomi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90-120 timer) </a:t>
                      </a:r>
                    </a:p>
                    <a:p>
                      <a:endParaRPr lang="da-DK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uppe 2 refusioner og refusioner af ydelser ydet i udlandet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arings opgaverne med regionerne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betalinger for sundhedskort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tagelse som ovenfor, men i mindre omfa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ge Andersen Esbjerg Kommun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mæneeksperter</a:t>
                      </a:r>
                      <a:r>
                        <a:rPr lang="da-DK" sz="12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forskellige fagområde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50-75 timer)</a:t>
                      </a:r>
                      <a:endParaRPr lang="da-DK" sz="1200" dirty="0" smtClean="0"/>
                    </a:p>
                    <a:p>
                      <a:endParaRPr lang="da-DK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arring og verificering med kernegruppen efter behov</a:t>
                      </a:r>
                      <a:endParaRPr lang="da-DK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Ulla Ditlev, Skanderborg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Susanne Clausen, Esbjerg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Niels Pold, Odense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Annette Dick Nielsen, København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dirty="0" smtClean="0"/>
                        <a:t>Vibeke Andersen, Vejen Kommune (sluttet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a-DK" sz="1200" dirty="0" smtClean="0"/>
                        <a:t>Marianne Bønløkke, Aalborg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da-DK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er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75-100 timer)</a:t>
                      </a:r>
                    </a:p>
                    <a:p>
                      <a:endParaRPr lang="da-DK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da-DK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er uden kendskab til afklaringsfasen og udviklingen til uvildig test af </a:t>
                      </a:r>
                      <a:r>
                        <a:rPr lang="da-DK" sz="12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aksys</a:t>
                      </a:r>
                      <a:endParaRPr lang="da-DK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Gitte Kirkegaard, Odder Kommune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da-DK" sz="1200" dirty="0" smtClean="0"/>
                        <a:t>Pia Hartman, Odder Kommune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513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NO_OF_TOPICS" val="9"/>
  <p:tag name="DBC_AGENDA_TOPIC_1" val="Baggrund og samarbejde"/>
  <p:tag name="DBC_AGENDA_TIME_1" val="0"/>
  <p:tag name="DBC_AGENDA_TOPIC_2" val="Organisering og deltagelse"/>
  <p:tag name="DBC_AGENDA_TIME_2" val="0"/>
  <p:tag name="DBC_AGENDA_TOPIC_3" val="Tidsplan og status"/>
  <p:tag name="DBC_AGENDA_TIME_3" val="0"/>
  <p:tag name="DBC_AGENDA_TOPIC_4" val="Business case"/>
  <p:tag name="DBC_AGENDA_TIME_4" val="0"/>
  <p:tag name="DBC_AGENDA_TOPIC_5" val="Risici"/>
  <p:tag name="DBC_AGENDA_TIME_5" val="0"/>
  <p:tag name="DBC_AGENDA_TOPIC_6" val="Test"/>
  <p:tag name="DBC_AGENDA_TIME_6" val="0"/>
  <p:tag name="DBC_AGENDA_TOPIC_7" val="Transition og implementering"/>
  <p:tag name="DBC_AGENDA_TIME_7" val="0"/>
  <p:tag name="DBC_AGENDA_TOPIC_8" val="Kompetencecenter"/>
  <p:tag name="DBC_AGENDA_TIME_8" val="0"/>
  <p:tag name="DBC_AGENDA_TOPIC_9" val="Det nye Praksys.dk"/>
  <p:tag name="DBC_AGENDA_TIME_9" val="0"/>
  <p:tag name="DBC_AGENDA_STARTTIME" val="0"/>
  <p:tag name="DBC_AGENDA_TIME_FORMAT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BC_AGENDA_SLIDE_V2" val="DBC_Agenda_Slide_V2"/>
</p:tagLst>
</file>

<file path=ppt/theme/theme1.xml><?xml version="1.0" encoding="utf-8"?>
<a:theme xmlns:a="http://schemas.openxmlformats.org/drawingml/2006/main" name="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</a:theme>
</file>

<file path=ppt/theme/theme2.xml><?xml version="1.0" encoding="utf-8"?>
<a:theme xmlns:a="http://schemas.openxmlformats.org/drawingml/2006/main" name="1_Kombit">
  <a:themeElements>
    <a:clrScheme name="KOMBIT">
      <a:dk1>
        <a:sysClr val="windowText" lastClr="000000"/>
      </a:dk1>
      <a:lt1>
        <a:sysClr val="window" lastClr="FFFFFF"/>
      </a:lt1>
      <a:dk2>
        <a:srgbClr val="4E3629"/>
      </a:dk2>
      <a:lt2>
        <a:srgbClr val="CBC4BC"/>
      </a:lt2>
      <a:accent1>
        <a:srgbClr val="C8102E"/>
      </a:accent1>
      <a:accent2>
        <a:srgbClr val="007398"/>
      </a:accent2>
      <a:accent3>
        <a:srgbClr val="7A9A01"/>
      </a:accent3>
      <a:accent4>
        <a:srgbClr val="482F92"/>
      </a:accent4>
      <a:accent5>
        <a:srgbClr val="4BACC6"/>
      </a:accent5>
      <a:accent6>
        <a:srgbClr val="E5A024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KOMBIT Rød">
      <a:srgbClr val="C8102E"/>
    </a:custClr>
    <a:custClr name="Petroleum">
      <a:srgbClr val="007398"/>
    </a:custClr>
    <a:custClr name="Mørk Grøn">
      <a:srgbClr val="7A9A01"/>
    </a:custClr>
    <a:custClr name="Lilla">
      <a:srgbClr val="482F92"/>
    </a:custClr>
  </a:custClr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5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6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7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8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ppt/theme/themeOverride9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4066B2"/>
    </a:dk2>
    <a:lt2>
      <a:srgbClr val="000066"/>
    </a:lt2>
    <a:accent1>
      <a:srgbClr val="003399"/>
    </a:accent1>
    <a:accent2>
      <a:srgbClr val="8099CC"/>
    </a:accent2>
    <a:accent3>
      <a:srgbClr val="FFFFFF"/>
    </a:accent3>
    <a:accent4>
      <a:srgbClr val="000000"/>
    </a:accent4>
    <a:accent5>
      <a:srgbClr val="AAADCA"/>
    </a:accent5>
    <a:accent6>
      <a:srgbClr val="738AB9"/>
    </a:accent6>
    <a:hlink>
      <a:srgbClr val="80CCCC"/>
    </a:hlink>
    <a:folHlink>
      <a:srgbClr val="4066B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Mappe" ma:contentTypeID="0x012000B6542938F6ABCA45A77A07F6A42B806C" ma:contentTypeVersion="" ma:contentTypeDescription="Opret en ny mappe." ma:contentTypeScope="" ma:versionID="975e2c860e8477e4f04251618d3be0b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fbaa5e9e9fe9c14be58611ab6e17e1e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temChildCount" minOccurs="0"/>
                <xsd:element ref="ns1:FolderChild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temChildCount" ma:index="3" nillable="true" ma:displayName="Antal underordnede elementer" ma:hidden="true" ma:list="Docs" ma:internalName="ItemChildCount" ma:readOnly="true" ma:showField="ItemChildCount">
      <xsd:simpleType>
        <xsd:restriction base="dms:Lookup"/>
      </xsd:simpleType>
    </xsd:element>
    <xsd:element name="FolderChildCount" ma:index="4" nillable="true" ma:displayName="Antal underordnede mapper" ma:hidden="true" ma:list="Docs" ma:internalName="FolderChildCount" ma:readOnly="true" ma:showField="FolderChildCount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ListForm</Display>
  <Edit>ListForm</Edit>
  <New>ListForm</New>
</FormTemplates>
</file>

<file path=customXml/itemProps1.xml><?xml version="1.0" encoding="utf-8"?>
<ds:datastoreItem xmlns:ds="http://schemas.openxmlformats.org/officeDocument/2006/customXml" ds:itemID="{096990AF-37BE-42F6-AFD4-797B57115953}">
  <ds:schemaRefs>
    <ds:schemaRef ds:uri="http://schemas.microsoft.com/office/2006/documentManagement/types"/>
    <ds:schemaRef ds:uri="http://purl.org/dc/elements/1.1/"/>
    <ds:schemaRef ds:uri="http://purl.org/dc/dcmitype/"/>
    <ds:schemaRef ds:uri="http://schemas.microsoft.com/sharepoint/v3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E610308-BE42-4063-892F-EE2CBC2FB7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B7B5EB5-A7D5-48DF-AC1A-BF9277A01A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OMBIT</Template>
  <TotalTime>40773</TotalTime>
  <Words>1970</Words>
  <Application>Microsoft Office PowerPoint</Application>
  <PresentationFormat>Skærmshow (4:3)</PresentationFormat>
  <Paragraphs>460</Paragraphs>
  <Slides>33</Slides>
  <Notes>1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3</vt:i4>
      </vt:variant>
    </vt:vector>
  </HeadingPairs>
  <TitlesOfParts>
    <vt:vector size="43" baseType="lpstr">
      <vt:lpstr>Arial</vt:lpstr>
      <vt:lpstr>Calibri</vt:lpstr>
      <vt:lpstr>MetaBook-Roman</vt:lpstr>
      <vt:lpstr>Symbol</vt:lpstr>
      <vt:lpstr>Trebuchet MS</vt:lpstr>
      <vt:lpstr>Wingdings</vt:lpstr>
      <vt:lpstr>Wingdings 2</vt:lpstr>
      <vt:lpstr>Kombit</vt:lpstr>
      <vt:lpstr>1_Kombit</vt:lpstr>
      <vt:lpstr>think-cell Slide</vt:lpstr>
      <vt:lpstr>Praksys.dk</vt:lpstr>
      <vt:lpstr>Agenda</vt:lpstr>
      <vt:lpstr>Praksys.dk erstatter NOTUS </vt:lpstr>
      <vt:lpstr>Hvad dækker det nye Praksys.dk over?</vt:lpstr>
      <vt:lpstr>De vigtigste forandringer for kommunerne</vt:lpstr>
      <vt:lpstr>Baggrund og samarbejde</vt:lpstr>
      <vt:lpstr>Agenda</vt:lpstr>
      <vt:lpstr>Organisering</vt:lpstr>
      <vt:lpstr>Kommunal bemanding af projektet</vt:lpstr>
      <vt:lpstr>Agenda</vt:lpstr>
      <vt:lpstr>Tidsplan og status</vt:lpstr>
      <vt:lpstr>Agenda</vt:lpstr>
      <vt:lpstr>Business case - revideret </vt:lpstr>
      <vt:lpstr>Bemærkninger til BC</vt:lpstr>
      <vt:lpstr>Agenda</vt:lpstr>
      <vt:lpstr>Risici</vt:lpstr>
      <vt:lpstr>Agenda</vt:lpstr>
      <vt:lpstr>Tests</vt:lpstr>
      <vt:lpstr>Agenda</vt:lpstr>
      <vt:lpstr>Processen for implementering af Praksys.dk i Kommunerne</vt:lpstr>
      <vt:lpstr>Roller og ansvar i implementeringsarbejdet</vt:lpstr>
      <vt:lpstr>Opgaver til kommunale implementeringsansvarlige</vt:lpstr>
      <vt:lpstr>Kommunal organisering af roller ifm. implementering</vt:lpstr>
      <vt:lpstr>Landsorganisering af implementeringsansvaret </vt:lpstr>
      <vt:lpstr>Støtte til implementeringsarbejdet</vt:lpstr>
      <vt:lpstr>Udkast til plan for kommunale aktiviteter i relation til transitionen</vt:lpstr>
      <vt:lpstr>I forbindelse med transitionen foreslås gennemført 4 mindre, reviews  i hver deltagende organisation og i kompetencecentret</vt:lpstr>
      <vt:lpstr>Agenda</vt:lpstr>
      <vt:lpstr>Fælles kompetencecenter</vt:lpstr>
      <vt:lpstr>Agenda</vt:lpstr>
      <vt:lpstr>Foreløbigt skærmbillede i det nye Praksys.dk</vt:lpstr>
      <vt:lpstr>Hvad nu?</vt:lpstr>
      <vt:lpstr>Tak for i dag!</vt:lpstr>
    </vt:vector>
  </TitlesOfParts>
  <Company>K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klaringsmøde</dc:title>
  <dc:creator>Rikke Eistrøm Rahimic</dc:creator>
  <cp:lastModifiedBy>Randi Hansen</cp:lastModifiedBy>
  <cp:revision>982</cp:revision>
  <cp:lastPrinted>2014-10-03T13:46:50Z</cp:lastPrinted>
  <dcterms:created xsi:type="dcterms:W3CDTF">2012-10-16T08:47:09Z</dcterms:created>
  <dcterms:modified xsi:type="dcterms:W3CDTF">2015-04-14T08:3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2000B6542938F6ABCA45A77A07F6A42B806C</vt:lpwstr>
  </property>
  <property fmtid="{D5CDD505-2E9C-101B-9397-08002B2CF9AE}" pid="3" name="M_x00f8_deforum">
    <vt:lpwstr/>
  </property>
  <property fmtid="{D5CDD505-2E9C-101B-9397-08002B2CF9AE}" pid="4" name="Specificering_x0020_af_x0020_m_x00e5_lgruppe">
    <vt:lpwstr/>
  </property>
  <property fmtid="{D5CDD505-2E9C-101B-9397-08002B2CF9AE}" pid="5" name="Specificering af målgruppe">
    <vt:lpwstr/>
  </property>
  <property fmtid="{D5CDD505-2E9C-101B-9397-08002B2CF9AE}" pid="6" name="Programnavn">
    <vt:lpwstr>Kommunenetværk</vt:lpwstr>
  </property>
  <property fmtid="{D5CDD505-2E9C-101B-9397-08002B2CF9AE}" pid="7" name="Planlagt Faseovergang">
    <vt:filetime>2012-03-09T23:00:00Z</vt:filetime>
  </property>
  <property fmtid="{D5CDD505-2E9C-101B-9397-08002B2CF9AE}" pid="8" name="Projektnavn">
    <vt:lpwstr>Sygesikring</vt:lpwstr>
  </property>
  <property fmtid="{D5CDD505-2E9C-101B-9397-08002B2CF9AE}" pid="9" name="Fase">
    <vt:lpwstr>Uspecificeret fase</vt:lpwstr>
  </property>
  <property fmtid="{D5CDD505-2E9C-101B-9397-08002B2CF9AE}" pid="10" name="Mødeforum">
    <vt:lpwstr>461;#Følgegruppe|7c516b52-637e-44d6-9103-ad1781aa13e5</vt:lpwstr>
  </property>
  <property fmtid="{D5CDD505-2E9C-101B-9397-08002B2CF9AE}" pid="11" name="Målgruppe (valg)">
    <vt:lpwstr>Kommuner</vt:lpwstr>
  </property>
  <property fmtid="{D5CDD505-2E9C-101B-9397-08002B2CF9AE}" pid="12" name="Mødedato">
    <vt:filetime>2013-02-17T23:00:00Z</vt:filetime>
  </property>
  <property fmtid="{D5CDD505-2E9C-101B-9397-08002B2CF9AE}" pid="13" name="Mødeemne">
    <vt:lpwstr>Kommunal følgegruppe</vt:lpwstr>
  </property>
  <property fmtid="{D5CDD505-2E9C-101B-9397-08002B2CF9AE}" pid="14" name="arbejdspakkeNY">
    <vt:lpwstr>33</vt:lpwstr>
  </property>
  <property fmtid="{D5CDD505-2E9C-101B-9397-08002B2CF9AE}" pid="15" name="Dato">
    <vt:filetime>2013-09-02T22:00:00Z</vt:filetime>
  </property>
  <property fmtid="{D5CDD505-2E9C-101B-9397-08002B2CF9AE}" pid="16" name="Flyt til arkiv">
    <vt:bool>false</vt:bool>
  </property>
  <property fmtid="{D5CDD505-2E9C-101B-9397-08002B2CF9AE}" pid="17" name="TaxCatchAll">
    <vt:lpwstr>461;#Følgegruppe|7c516b52-637e-44d6-9103-ad1781aa13e5</vt:lpwstr>
  </property>
  <property fmtid="{D5CDD505-2E9C-101B-9397-08002B2CF9AE}" pid="18" name="cedf990ee3f14f79ba289de6e11441c0">
    <vt:lpwstr>Følgegruppe|7c516b52-637e-44d6-9103-ad1781aa13e5</vt:lpwstr>
  </property>
</Properties>
</file>